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8" r:id="rId2"/>
    <p:sldId id="363" r:id="rId3"/>
    <p:sldId id="364" r:id="rId4"/>
    <p:sldId id="366" r:id="rId5"/>
    <p:sldId id="367" r:id="rId6"/>
    <p:sldId id="368" r:id="rId7"/>
    <p:sldId id="365" r:id="rId8"/>
    <p:sldId id="369" r:id="rId9"/>
    <p:sldId id="370" r:id="rId10"/>
    <p:sldId id="371" r:id="rId11"/>
  </p:sldIdLst>
  <p:sldSz cx="12192000" cy="6858000"/>
  <p:notesSz cx="6799263" cy="9929813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3"/>
            <p14:sldId id="364"/>
            <p14:sldId id="366"/>
            <p14:sldId id="367"/>
            <p14:sldId id="368"/>
            <p14:sldId id="365"/>
            <p14:sldId id="369"/>
            <p14:sldId id="370"/>
            <p14:sldId id="3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79" autoAdjust="0"/>
  </p:normalViewPr>
  <p:slideViewPr>
    <p:cSldViewPr snapToObjects="1">
      <p:cViewPr varScale="1">
        <p:scale>
          <a:sx n="84" d="100"/>
          <a:sy n="84" d="100"/>
        </p:scale>
        <p:origin x="96" y="11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28. August 2021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28. August 2021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sabella-grieser/VNR-optimization-for-VPP" TargetMode="External"/><Relationship Id="rId2" Type="http://schemas.openxmlformats.org/officeDocument/2006/relationships/hyperlink" Target="https://jump.dev/JuMP.jl/stable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Extension of the Virtual Network Embedding formulation for Virtual Power Pla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C2EF90-A004-4788-9056-5138F9BED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constraint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reduc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gnoring</a:t>
            </a:r>
            <a:r>
              <a:rPr lang="de-DE" dirty="0"/>
              <a:t> irrelevant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scenario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7CB4C1C-7000-41D5-B76E-518B4C1171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719" y="1598420"/>
            <a:ext cx="3204216" cy="5029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power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scenario</a:t>
            </a:r>
            <a:r>
              <a:rPr lang="de-DE" sz="1800" dirty="0"/>
              <a:t>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1600" dirty="0"/>
          </a:p>
          <a:p>
            <a:endParaRPr lang="de-DE" sz="16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364EC2B2-4C0F-4FE6-BCB3-849B6F164729}"/>
                  </a:ext>
                </a:extLst>
              </p:cNvPr>
              <p:cNvSpPr txBox="1"/>
              <p:nvPr/>
            </p:nvSpPr>
            <p:spPr>
              <a:xfrm>
                <a:off x="201921" y="4819955"/>
                <a:ext cx="202057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&lt;10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364EC2B2-4C0F-4FE6-BCB3-849B6F1647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921" y="4819955"/>
                <a:ext cx="2020570" cy="36933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42BE0E53-FA66-49B7-8A2D-21ED2569769E}"/>
                  </a:ext>
                </a:extLst>
              </p:cNvPr>
              <p:cNvSpPr txBox="1"/>
              <p:nvPr/>
            </p:nvSpPr>
            <p:spPr>
              <a:xfrm>
                <a:off x="1616030" y="5775595"/>
                <a:ext cx="189890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&lt;60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0.</m:t>
                    </m:r>
                  </m:oMath>
                </a14:m>
                <a:r>
                  <a:rPr lang="de-DE" dirty="0"/>
                  <a:t>8</a:t>
                </a:r>
              </a:p>
            </p:txBody>
          </p:sp>
        </mc:Choice>
        <mc:Fallback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42BE0E53-FA66-49B7-8A2D-21ED256976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6030" y="5775595"/>
                <a:ext cx="1898905" cy="369332"/>
              </a:xfrm>
              <a:prstGeom prst="rect">
                <a:avLst/>
              </a:prstGeom>
              <a:blipFill>
                <a:blip r:embed="rId3"/>
                <a:stretch>
                  <a:fillRect t="-8197" b="-24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E3CF8083-E1FC-4908-B5EA-0CD613BAAF40}"/>
                  </a:ext>
                </a:extLst>
              </p:cNvPr>
              <p:cNvSpPr txBox="1"/>
              <p:nvPr/>
            </p:nvSpPr>
            <p:spPr>
              <a:xfrm>
                <a:off x="1559496" y="2246652"/>
                <a:ext cx="189890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&lt;30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E3CF8083-E1FC-4908-B5EA-0CD613BAAF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9496" y="2246652"/>
                <a:ext cx="1898905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Grafik 7">
            <a:extLst>
              <a:ext uri="{FF2B5EF4-FFF2-40B4-BE49-F238E27FC236}">
                <a16:creationId xmlns:a16="http://schemas.microsoft.com/office/drawing/2014/main" id="{65DF2C21-677C-40FD-9BCF-CC90F3EEDCD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4" t="5519" r="73523" b="8234"/>
          <a:stretch/>
        </p:blipFill>
        <p:spPr>
          <a:xfrm>
            <a:off x="669974" y="2501020"/>
            <a:ext cx="2214368" cy="327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318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D79BC370-D0B4-44A5-8ADB-AC1E1D996844}"/>
              </a:ext>
            </a:extLst>
          </p:cNvPr>
          <p:cNvSpPr/>
          <p:nvPr/>
        </p:nvSpPr>
        <p:spPr>
          <a:xfrm>
            <a:off x="842088" y="4115485"/>
            <a:ext cx="9865096" cy="251448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01802A-1550-4DF8-984A-2F353FB27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Virtual Power Plant (VPP)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distributed</a:t>
            </a:r>
            <a:r>
              <a:rPr lang="de-DE" dirty="0"/>
              <a:t> power plant 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1F5A5B5D-D3D2-4B3E-AEB1-E5DB7E7FE4E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3" r="53750"/>
          <a:stretch/>
        </p:blipFill>
        <p:spPr>
          <a:xfrm>
            <a:off x="908664" y="4115485"/>
            <a:ext cx="3744416" cy="2538688"/>
          </a:xfr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EF27CD5-B34E-444B-BC1E-E23A9132E4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31" r="13423"/>
          <a:stretch/>
        </p:blipFill>
        <p:spPr>
          <a:xfrm>
            <a:off x="7453027" y="4021970"/>
            <a:ext cx="3172414" cy="2518054"/>
          </a:xfrm>
          <a:prstGeom prst="rect">
            <a:avLst/>
          </a:prstGeom>
        </p:spPr>
      </p:pic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300AD1DA-3F5D-40AF-8EAA-47F285112499}"/>
              </a:ext>
            </a:extLst>
          </p:cNvPr>
          <p:cNvSpPr/>
          <p:nvPr/>
        </p:nvSpPr>
        <p:spPr>
          <a:xfrm>
            <a:off x="4997337" y="4868671"/>
            <a:ext cx="2338423" cy="504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B61E6EC4-3773-4140-8C03-A07FB0456852}"/>
              </a:ext>
            </a:extLst>
          </p:cNvPr>
          <p:cNvSpPr txBox="1">
            <a:spLocks/>
          </p:cNvSpPr>
          <p:nvPr/>
        </p:nvSpPr>
        <p:spPr bwMode="auto">
          <a:xfrm>
            <a:off x="335360" y="1619999"/>
            <a:ext cx="11161240" cy="2495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/>
              <a:t>Virtual Power Plant: </a:t>
            </a:r>
            <a:r>
              <a:rPr lang="de-DE" b="0" kern="0" dirty="0" err="1"/>
              <a:t>is</a:t>
            </a:r>
            <a:r>
              <a:rPr lang="de-DE" b="0" kern="0" dirty="0"/>
              <a:t> </a:t>
            </a:r>
            <a:r>
              <a:rPr lang="de-DE" b="0" kern="0" dirty="0" err="1"/>
              <a:t>made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multiple </a:t>
            </a:r>
            <a:r>
              <a:rPr lang="de-DE" b="0" kern="0" dirty="0" err="1"/>
              <a:t>distributed</a:t>
            </a:r>
            <a:r>
              <a:rPr lang="de-DE" b="0" kern="0" dirty="0"/>
              <a:t> </a:t>
            </a:r>
            <a:r>
              <a:rPr lang="de-DE" b="0" kern="0" dirty="0" err="1"/>
              <a:t>energy</a:t>
            </a:r>
            <a:r>
              <a:rPr lang="de-DE" b="0" kern="0" dirty="0"/>
              <a:t> </a:t>
            </a:r>
            <a:r>
              <a:rPr lang="de-DE" b="0" kern="0" dirty="0" err="1"/>
              <a:t>resources</a:t>
            </a:r>
            <a:r>
              <a:rPr lang="de-DE" b="0" kern="0" dirty="0"/>
              <a:t> (DERs) but </a:t>
            </a:r>
            <a:r>
              <a:rPr lang="de-DE" b="0" kern="0" dirty="0" err="1"/>
              <a:t>can</a:t>
            </a:r>
            <a:r>
              <a:rPr lang="de-DE" b="0" kern="0" dirty="0"/>
              <a:t> </a:t>
            </a:r>
            <a:r>
              <a:rPr lang="de-DE" b="0" kern="0" dirty="0" err="1"/>
              <a:t>be</a:t>
            </a:r>
            <a:r>
              <a:rPr lang="de-DE" b="0" kern="0" dirty="0"/>
              <a:t> </a:t>
            </a:r>
            <a:r>
              <a:rPr lang="de-DE" b="0" kern="0" dirty="0" err="1"/>
              <a:t>seen</a:t>
            </a:r>
            <a:r>
              <a:rPr lang="de-DE" b="0" kern="0" dirty="0"/>
              <a:t> </a:t>
            </a:r>
            <a:r>
              <a:rPr lang="de-DE" b="0" kern="0" dirty="0" err="1"/>
              <a:t>from</a:t>
            </a:r>
            <a:r>
              <a:rPr lang="de-DE" b="0" kern="0" dirty="0"/>
              <a:t> </a:t>
            </a:r>
            <a:r>
              <a:rPr lang="de-DE" b="0" kern="0" dirty="0" err="1"/>
              <a:t>the</a:t>
            </a:r>
            <a:r>
              <a:rPr lang="de-DE" b="0" kern="0" dirty="0"/>
              <a:t> outside </a:t>
            </a:r>
            <a:r>
              <a:rPr lang="de-DE" b="0" kern="0" dirty="0" err="1"/>
              <a:t>as</a:t>
            </a:r>
            <a:r>
              <a:rPr lang="de-DE" b="0" kern="0" dirty="0"/>
              <a:t> a </a:t>
            </a:r>
            <a:r>
              <a:rPr lang="de-DE" b="0" kern="0" dirty="0" err="1"/>
              <a:t>regular</a:t>
            </a:r>
            <a:r>
              <a:rPr lang="de-DE" b="0" kern="0" dirty="0"/>
              <a:t> power plant </a:t>
            </a:r>
          </a:p>
          <a:p>
            <a:r>
              <a:rPr lang="de-DE" kern="0" dirty="0"/>
              <a:t>A VPP </a:t>
            </a:r>
            <a:r>
              <a:rPr lang="de-DE" kern="0" dirty="0" err="1"/>
              <a:t>contains</a:t>
            </a:r>
            <a:r>
              <a:rPr lang="de-DE" kern="0" dirty="0"/>
              <a:t>:</a:t>
            </a:r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b="0" kern="0" dirty="0"/>
              <a:t>A </a:t>
            </a:r>
            <a:r>
              <a:rPr lang="de-DE" sz="1600" b="0" kern="0" dirty="0" err="1"/>
              <a:t>management</a:t>
            </a:r>
            <a:r>
              <a:rPr lang="de-DE" sz="1600" b="0" kern="0" dirty="0"/>
              <a:t> </a:t>
            </a:r>
            <a:r>
              <a:rPr lang="de-DE" sz="1600" b="0" kern="0" dirty="0" err="1"/>
              <a:t>office</a:t>
            </a:r>
            <a:endParaRPr lang="de-DE" sz="1600" b="0" kern="0" dirty="0"/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kern="0" dirty="0"/>
              <a:t>Multiple DERs</a:t>
            </a:r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b="0" kern="0" dirty="0"/>
              <a:t>A </a:t>
            </a:r>
            <a:r>
              <a:rPr lang="de-DE" sz="1600" b="0" kern="0" dirty="0" err="1"/>
              <a:t>communication</a:t>
            </a:r>
            <a:r>
              <a:rPr lang="de-DE" sz="1600" b="0" kern="0" dirty="0"/>
              <a:t> network </a:t>
            </a:r>
            <a:r>
              <a:rPr lang="de-DE" sz="1600" b="0" kern="0" dirty="0" err="1"/>
              <a:t>between</a:t>
            </a:r>
            <a:r>
              <a:rPr lang="de-DE" sz="1600" b="0" kern="0" dirty="0"/>
              <a:t> </a:t>
            </a:r>
            <a:r>
              <a:rPr lang="de-DE" sz="1600" b="0" kern="0" dirty="0" err="1"/>
              <a:t>the</a:t>
            </a:r>
            <a:r>
              <a:rPr lang="de-DE" sz="1600" b="0" kern="0" dirty="0"/>
              <a:t> </a:t>
            </a:r>
            <a:r>
              <a:rPr lang="de-DE" sz="1600" b="0" kern="0" dirty="0" err="1"/>
              <a:t>management</a:t>
            </a:r>
            <a:r>
              <a:rPr lang="de-DE" sz="1600" b="0" kern="0" dirty="0"/>
              <a:t> </a:t>
            </a:r>
            <a:r>
              <a:rPr lang="de-DE" sz="1600" b="0" kern="0" dirty="0" err="1"/>
              <a:t>office</a:t>
            </a:r>
            <a:r>
              <a:rPr lang="de-DE" sz="1600" b="0" kern="0" dirty="0"/>
              <a:t> and </a:t>
            </a:r>
            <a:r>
              <a:rPr lang="de-DE" sz="1600" b="0" kern="0" dirty="0" err="1"/>
              <a:t>the</a:t>
            </a:r>
            <a:r>
              <a:rPr lang="de-DE" sz="1600" b="0" kern="0" dirty="0"/>
              <a:t> DERs</a:t>
            </a:r>
          </a:p>
        </p:txBody>
      </p:sp>
    </p:spTree>
    <p:extLst>
      <p:ext uri="{BB962C8B-B14F-4D97-AF65-F5344CB8AC3E}">
        <p14:creationId xmlns:p14="http://schemas.microsoft.com/office/powerpoint/2010/main" val="643439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3616038-969C-49CC-A960-EA9C9DD681BD}"/>
              </a:ext>
            </a:extLst>
          </p:cNvPr>
          <p:cNvSpPr/>
          <p:nvPr/>
        </p:nvSpPr>
        <p:spPr>
          <a:xfrm>
            <a:off x="1127448" y="4173763"/>
            <a:ext cx="9865096" cy="244729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3585637F-E304-44BA-9D5F-DB9BD8EC7386}"/>
              </a:ext>
            </a:extLst>
          </p:cNvPr>
          <p:cNvSpPr/>
          <p:nvPr/>
        </p:nvSpPr>
        <p:spPr>
          <a:xfrm>
            <a:off x="1127448" y="1549984"/>
            <a:ext cx="9865096" cy="244729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DCD731-4A22-4664-B70D-8B7D95F96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nerating a </a:t>
            </a:r>
            <a:r>
              <a:rPr lang="de-DE" dirty="0" err="1"/>
              <a:t>stabl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en-US" dirty="0"/>
              <a:t>renewable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resources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A8F67F-3021-4B0A-835A-F41967887B3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1" t="8000" r="9680" b="13041"/>
          <a:stretch/>
        </p:blipFill>
        <p:spPr>
          <a:xfrm>
            <a:off x="1784249" y="1660264"/>
            <a:ext cx="2007495" cy="2144370"/>
          </a:xfrm>
          <a:prstGeom prst="rect">
            <a:avLst/>
          </a:prstGeom>
        </p:spPr>
      </p:pic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7F1713C7-3422-4740-AB7B-AD806A8D8D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517" y="4362397"/>
            <a:ext cx="1084337" cy="1891237"/>
          </a:xfr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77809CA-1727-423B-90D7-D38E6BDDFC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9727" y="5199547"/>
            <a:ext cx="1659053" cy="1171457"/>
          </a:xfrm>
          <a:prstGeom prst="rect">
            <a:avLst/>
          </a:prstGeom>
        </p:spPr>
      </p:pic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B34CE688-23C6-458B-8A14-3A56BE6DDB2E}"/>
              </a:ext>
            </a:extLst>
          </p:cNvPr>
          <p:cNvSpPr/>
          <p:nvPr/>
        </p:nvSpPr>
        <p:spPr>
          <a:xfrm>
            <a:off x="4295800" y="2633507"/>
            <a:ext cx="25202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E0F09171-7FD3-45B6-8D2E-06CD20EA5A53}"/>
              </a:ext>
            </a:extLst>
          </p:cNvPr>
          <p:cNvSpPr/>
          <p:nvPr/>
        </p:nvSpPr>
        <p:spPr>
          <a:xfrm>
            <a:off x="4305328" y="5007555"/>
            <a:ext cx="25202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6065D1AE-9906-4CAD-8BAB-6E8A34BA541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93968" y="1650425"/>
            <a:ext cx="3032518" cy="2294304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70B5D1AA-2C99-44A7-AC5B-85761578C27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44" r="7796"/>
          <a:stretch/>
        </p:blipFill>
        <p:spPr>
          <a:xfrm>
            <a:off x="7085073" y="4220112"/>
            <a:ext cx="3143442" cy="230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046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D73A6B9-0CB0-4ABB-B890-D1BCDB5D8467}"/>
              </a:ext>
            </a:extLst>
          </p:cNvPr>
          <p:cNvSpPr/>
          <p:nvPr/>
        </p:nvSpPr>
        <p:spPr>
          <a:xfrm>
            <a:off x="911424" y="3501008"/>
            <a:ext cx="9865096" cy="28863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DEC624-EE4E-4B45-B5B1-9660D6BA3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290042" cy="838200"/>
          </a:xfrm>
        </p:spPr>
        <p:txBody>
          <a:bodyPr/>
          <a:lstStyle/>
          <a:p>
            <a:r>
              <a:rPr lang="de-DE" dirty="0" err="1"/>
              <a:t>Idea</a:t>
            </a:r>
            <a:r>
              <a:rPr lang="de-DE" dirty="0"/>
              <a:t>: </a:t>
            </a:r>
            <a:r>
              <a:rPr lang="de-DE" dirty="0" err="1"/>
              <a:t>assign</a:t>
            </a:r>
            <a:r>
              <a:rPr lang="de-DE" dirty="0"/>
              <a:t> DERs </a:t>
            </a:r>
            <a:r>
              <a:rPr lang="de-DE" dirty="0" err="1"/>
              <a:t>to</a:t>
            </a:r>
            <a:r>
              <a:rPr lang="de-DE" dirty="0"/>
              <a:t> a VPP </a:t>
            </a:r>
            <a:r>
              <a:rPr lang="de-DE" dirty="0" err="1"/>
              <a:t>by</a:t>
            </a:r>
            <a:r>
              <a:rPr lang="de-DE" dirty="0"/>
              <a:t> virtual network </a:t>
            </a:r>
            <a:r>
              <a:rPr lang="de-DE" dirty="0" err="1"/>
              <a:t>embedding</a:t>
            </a:r>
            <a:r>
              <a:rPr lang="de-DE" dirty="0"/>
              <a:t> (VNE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662AF51-5E74-465D-85D1-E6400FBD1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620000"/>
            <a:ext cx="11521280" cy="1928519"/>
          </a:xfrm>
        </p:spPr>
        <p:txBody>
          <a:bodyPr/>
          <a:lstStyle/>
          <a:p>
            <a:r>
              <a:rPr lang="de-DE" dirty="0"/>
              <a:t>Problem: </a:t>
            </a:r>
            <a:r>
              <a:rPr lang="de-DE" b="0" dirty="0" err="1"/>
              <a:t>How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assign</a:t>
            </a:r>
            <a:r>
              <a:rPr lang="de-DE" b="0" dirty="0"/>
              <a:t> DERs </a:t>
            </a:r>
            <a:r>
              <a:rPr lang="de-DE" b="0" dirty="0" err="1"/>
              <a:t>to</a:t>
            </a:r>
            <a:r>
              <a:rPr lang="de-DE" b="0" dirty="0"/>
              <a:t> a VPP?</a:t>
            </a:r>
          </a:p>
          <a:p>
            <a:r>
              <a:rPr lang="en-US" dirty="0"/>
              <a:t>Answer</a:t>
            </a:r>
            <a:r>
              <a:rPr lang="de-DE" dirty="0"/>
              <a:t>: </a:t>
            </a:r>
            <a:r>
              <a:rPr lang="de-DE" b="0" dirty="0"/>
              <a:t>By </a:t>
            </a:r>
            <a:r>
              <a:rPr lang="de-DE" b="0" dirty="0" err="1"/>
              <a:t>using</a:t>
            </a:r>
            <a:r>
              <a:rPr lang="de-DE" b="0" dirty="0"/>
              <a:t> VNE </a:t>
            </a:r>
            <a:r>
              <a:rPr lang="de-DE" b="0" dirty="0" err="1"/>
              <a:t>algorithms</a:t>
            </a:r>
            <a:endParaRPr lang="de-DE" b="0" dirty="0"/>
          </a:p>
          <a:p>
            <a:pPr marL="1708150" lvl="5" indent="-342900">
              <a:buFont typeface="Wingdings" panose="05000000000000000000" pitchFamily="2" charset="2"/>
              <a:buChar char="Ø"/>
            </a:pPr>
            <a:r>
              <a:rPr lang="de-DE" dirty="0"/>
              <a:t>Mapping a virtual network (</a:t>
            </a:r>
            <a:r>
              <a:rPr lang="de-DE" dirty="0" err="1"/>
              <a:t>the</a:t>
            </a:r>
            <a:r>
              <a:rPr lang="de-DE" dirty="0"/>
              <a:t> VPP) </a:t>
            </a:r>
            <a:r>
              <a:rPr lang="de-DE" dirty="0" err="1"/>
              <a:t>onto</a:t>
            </a:r>
            <a:r>
              <a:rPr lang="de-DE" dirty="0"/>
              <a:t> a </a:t>
            </a:r>
            <a:r>
              <a:rPr lang="en-US" dirty="0"/>
              <a:t>physical</a:t>
            </a:r>
            <a:r>
              <a:rPr lang="de-DE" dirty="0"/>
              <a:t> network</a:t>
            </a:r>
          </a:p>
          <a:p>
            <a:pPr marL="1708150" lvl="5" indent="-342900">
              <a:buFont typeface="Wingdings" panose="05000000000000000000" pitchFamily="2" charset="2"/>
              <a:buChar char="Ø"/>
            </a:pPr>
            <a:r>
              <a:rPr lang="de-DE" b="0" dirty="0"/>
              <a:t>Find optimal </a:t>
            </a:r>
            <a:r>
              <a:rPr lang="de-DE" b="0" dirty="0" err="1"/>
              <a:t>embedding</a:t>
            </a:r>
            <a:r>
              <a:rPr lang="de-DE" b="0" dirty="0"/>
              <a:t> </a:t>
            </a:r>
            <a:r>
              <a:rPr lang="de-DE" b="0" dirty="0" err="1"/>
              <a:t>while</a:t>
            </a:r>
            <a:r>
              <a:rPr lang="de-DE" b="0" dirty="0"/>
              <a:t> </a:t>
            </a:r>
            <a:r>
              <a:rPr lang="de-DE" b="0" dirty="0" err="1"/>
              <a:t>considering</a:t>
            </a:r>
            <a:r>
              <a:rPr lang="de-DE" b="0" dirty="0"/>
              <a:t> </a:t>
            </a:r>
            <a:r>
              <a:rPr lang="de-DE" b="0" dirty="0" err="1"/>
              <a:t>the</a:t>
            </a:r>
            <a:r>
              <a:rPr lang="de-DE" b="0" dirty="0"/>
              <a:t> power </a:t>
            </a:r>
            <a:r>
              <a:rPr lang="de-DE" b="0" dirty="0" err="1"/>
              <a:t>output</a:t>
            </a:r>
            <a:r>
              <a:rPr lang="de-DE" b="0" dirty="0"/>
              <a:t> </a:t>
            </a:r>
            <a:r>
              <a:rPr lang="de-DE" b="0" dirty="0" err="1"/>
              <a:t>reliability</a:t>
            </a:r>
            <a:r>
              <a:rPr lang="de-DE" b="0" dirty="0"/>
              <a:t> and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b="0" dirty="0" err="1"/>
              <a:t>cost</a:t>
            </a:r>
            <a:r>
              <a:rPr lang="de-DE" b="0" dirty="0"/>
              <a:t> </a:t>
            </a:r>
          </a:p>
        </p:txBody>
      </p:sp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4A537828-9497-44D1-8AA0-0B6ACD15A4D6}"/>
              </a:ext>
            </a:extLst>
          </p:cNvPr>
          <p:cNvSpPr/>
          <p:nvPr/>
        </p:nvSpPr>
        <p:spPr>
          <a:xfrm>
            <a:off x="5663952" y="4941168"/>
            <a:ext cx="144016" cy="144016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7DFE63B-5DB9-4305-92EF-7C74C7E5EE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3712" y="3861048"/>
            <a:ext cx="957236" cy="675904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91A1FAF-29AD-4948-9F99-2F73C1C192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5590125"/>
            <a:ext cx="957236" cy="67590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11F4262-C97A-421E-A2E4-3EDCEF8AF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9248" y="3626707"/>
            <a:ext cx="957237" cy="67590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55FC834-8F5A-4018-A4ED-0A68C408E8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554" y="5693146"/>
            <a:ext cx="957236" cy="675904"/>
          </a:xfrm>
          <a:prstGeom prst="rect">
            <a:avLst/>
          </a:prstGeom>
        </p:spPr>
      </p:pic>
      <p:pic>
        <p:nvPicPr>
          <p:cNvPr id="10" name="Inhaltsplatzhalter 14">
            <a:extLst>
              <a:ext uri="{FF2B5EF4-FFF2-40B4-BE49-F238E27FC236}">
                <a16:creationId xmlns:a16="http://schemas.microsoft.com/office/drawing/2014/main" id="{03E6C0E4-B5AE-4493-9D21-8500DACAA8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41682" y="3726548"/>
            <a:ext cx="66057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Inhaltsplatzhalter 14">
            <a:extLst>
              <a:ext uri="{FF2B5EF4-FFF2-40B4-BE49-F238E27FC236}">
                <a16:creationId xmlns:a16="http://schemas.microsoft.com/office/drawing/2014/main" id="{B195548C-6AF8-4768-8763-7F68C22FD6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829716" y="5202657"/>
            <a:ext cx="463500" cy="808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Inhaltsplatzhalter 14">
            <a:extLst>
              <a:ext uri="{FF2B5EF4-FFF2-40B4-BE49-F238E27FC236}">
                <a16:creationId xmlns:a16="http://schemas.microsoft.com/office/drawing/2014/main" id="{BD9194CC-A930-457E-9630-FFAFD09C70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61562" y="3626707"/>
            <a:ext cx="669929" cy="11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Inhaltsplatzhalter 14">
            <a:extLst>
              <a:ext uri="{FF2B5EF4-FFF2-40B4-BE49-F238E27FC236}">
                <a16:creationId xmlns:a16="http://schemas.microsoft.com/office/drawing/2014/main" id="{FF8C8E86-DEE4-4D20-8D86-1C5BE9D9E0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8760" y="3656534"/>
            <a:ext cx="504786" cy="880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6B18ABCA-4D43-446E-B94F-1235598A8D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34799" y="4199000"/>
            <a:ext cx="669929" cy="11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Flussdiagramm: Verbinder 15">
            <a:extLst>
              <a:ext uri="{FF2B5EF4-FFF2-40B4-BE49-F238E27FC236}">
                <a16:creationId xmlns:a16="http://schemas.microsoft.com/office/drawing/2014/main" id="{DA7C3134-B7B9-413E-8E15-D0D35F529638}"/>
              </a:ext>
            </a:extLst>
          </p:cNvPr>
          <p:cNvSpPr/>
          <p:nvPr/>
        </p:nvSpPr>
        <p:spPr>
          <a:xfrm flipH="1">
            <a:off x="8692308" y="5122231"/>
            <a:ext cx="45719" cy="45719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1D5076D-2B17-4B73-B188-8DB8DF0F0B08}"/>
              </a:ext>
            </a:extLst>
          </p:cNvPr>
          <p:cNvCxnSpPr>
            <a:cxnSpLocks/>
            <a:stCxn id="12" idx="2"/>
            <a:endCxn id="16" idx="0"/>
          </p:cNvCxnSpPr>
          <p:nvPr/>
        </p:nvCxnSpPr>
        <p:spPr>
          <a:xfrm>
            <a:off x="8296527" y="4795157"/>
            <a:ext cx="418640" cy="3270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E237DBB-D5C5-44B8-990E-03CB5CBE3B59}"/>
              </a:ext>
            </a:extLst>
          </p:cNvPr>
          <p:cNvCxnSpPr>
            <a:cxnSpLocks/>
            <a:endCxn id="16" idx="2"/>
          </p:cNvCxnSpPr>
          <p:nvPr/>
        </p:nvCxnSpPr>
        <p:spPr>
          <a:xfrm flipH="1">
            <a:off x="8738027" y="4850681"/>
            <a:ext cx="493597" cy="2944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8309064-4F41-4119-A542-C3CC6338E36F}"/>
              </a:ext>
            </a:extLst>
          </p:cNvPr>
          <p:cNvCxnSpPr>
            <a:cxnSpLocks/>
            <a:endCxn id="16" idx="3"/>
          </p:cNvCxnSpPr>
          <p:nvPr/>
        </p:nvCxnSpPr>
        <p:spPr>
          <a:xfrm flipH="1" flipV="1">
            <a:off x="8731332" y="5161255"/>
            <a:ext cx="253493" cy="84932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D2DDF00-F18A-40E3-B764-D9253B51CFF7}"/>
              </a:ext>
            </a:extLst>
          </p:cNvPr>
          <p:cNvCxnSpPr>
            <a:cxnSpLocks/>
            <a:stCxn id="5" idx="6"/>
            <a:endCxn id="16" idx="6"/>
          </p:cNvCxnSpPr>
          <p:nvPr/>
        </p:nvCxnSpPr>
        <p:spPr>
          <a:xfrm>
            <a:off x="5807968" y="5013176"/>
            <a:ext cx="2884340" cy="13191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DA596B4-EFA8-435A-AD0B-00C75D9E3593}"/>
              </a:ext>
            </a:extLst>
          </p:cNvPr>
          <p:cNvCxnSpPr>
            <a:cxnSpLocks/>
          </p:cNvCxnSpPr>
          <p:nvPr/>
        </p:nvCxnSpPr>
        <p:spPr>
          <a:xfrm flipH="1" flipV="1">
            <a:off x="5725470" y="4988479"/>
            <a:ext cx="393778" cy="9260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99B612B-0439-402B-B620-CC685F11E197}"/>
              </a:ext>
            </a:extLst>
          </p:cNvPr>
          <p:cNvCxnSpPr>
            <a:cxnSpLocks/>
            <a:stCxn id="5" idx="7"/>
          </p:cNvCxnSpPr>
          <p:nvPr/>
        </p:nvCxnSpPr>
        <p:spPr>
          <a:xfrm flipV="1">
            <a:off x="5786877" y="4234079"/>
            <a:ext cx="632159" cy="7281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1B645DB4-1414-44C3-A4D1-6078A90D5360}"/>
              </a:ext>
            </a:extLst>
          </p:cNvPr>
          <p:cNvCxnSpPr>
            <a:cxnSpLocks/>
            <a:endCxn id="13" idx="2"/>
          </p:cNvCxnSpPr>
          <p:nvPr/>
        </p:nvCxnSpPr>
        <p:spPr>
          <a:xfrm flipH="1" flipV="1">
            <a:off x="5191153" y="4536952"/>
            <a:ext cx="492118" cy="45152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38196D31-95C0-4A51-96B8-D914D2198B8E}"/>
              </a:ext>
            </a:extLst>
          </p:cNvPr>
          <p:cNvCxnSpPr>
            <a:cxnSpLocks/>
            <a:stCxn id="5" idx="2"/>
            <a:endCxn id="6" idx="2"/>
          </p:cNvCxnSpPr>
          <p:nvPr/>
        </p:nvCxnSpPr>
        <p:spPr>
          <a:xfrm flipH="1" flipV="1">
            <a:off x="3982330" y="4536952"/>
            <a:ext cx="1681622" cy="4762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481514BA-F78A-4D6C-BF7E-9A8F1DAC1B51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5281735" y="5064093"/>
            <a:ext cx="403308" cy="5740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38A4859-FE19-47D9-ACBE-6D938FEFDA60}"/>
              </a:ext>
            </a:extLst>
          </p:cNvPr>
          <p:cNvCxnSpPr>
            <a:cxnSpLocks/>
            <a:stCxn id="5" idx="2"/>
            <a:endCxn id="15" idx="2"/>
          </p:cNvCxnSpPr>
          <p:nvPr/>
        </p:nvCxnSpPr>
        <p:spPr>
          <a:xfrm flipH="1">
            <a:off x="2469764" y="5013176"/>
            <a:ext cx="3194188" cy="3542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271404C-149C-426A-8CA9-26697B941168}"/>
              </a:ext>
            </a:extLst>
          </p:cNvPr>
          <p:cNvCxnSpPr>
            <a:cxnSpLocks/>
          </p:cNvCxnSpPr>
          <p:nvPr/>
        </p:nvCxnSpPr>
        <p:spPr>
          <a:xfrm flipH="1">
            <a:off x="2458334" y="5014957"/>
            <a:ext cx="3194188" cy="35427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C2B1C70-9160-47E3-93A9-1B6D0781AD18}"/>
              </a:ext>
            </a:extLst>
          </p:cNvPr>
          <p:cNvCxnSpPr>
            <a:cxnSpLocks/>
          </p:cNvCxnSpPr>
          <p:nvPr/>
        </p:nvCxnSpPr>
        <p:spPr>
          <a:xfrm flipV="1">
            <a:off x="5795543" y="4229594"/>
            <a:ext cx="632159" cy="72818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7E6C531D-2203-4A11-B5B8-F9A00CF52467}"/>
              </a:ext>
            </a:extLst>
          </p:cNvPr>
          <p:cNvCxnSpPr>
            <a:cxnSpLocks/>
          </p:cNvCxnSpPr>
          <p:nvPr/>
        </p:nvCxnSpPr>
        <p:spPr>
          <a:xfrm flipH="1" flipV="1">
            <a:off x="5767542" y="5086208"/>
            <a:ext cx="351706" cy="8167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DAAA3B27-53DB-4B7F-AE0B-85500B7065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588" t="16322" r="7781" b="11762"/>
          <a:stretch/>
        </p:blipFill>
        <p:spPr>
          <a:xfrm>
            <a:off x="7346412" y="5409685"/>
            <a:ext cx="867957" cy="593131"/>
          </a:xfrm>
          <a:prstGeom prst="rect">
            <a:avLst/>
          </a:prstGeom>
        </p:spPr>
      </p:pic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AC120AAB-A041-4DE2-A475-5B06E32EE7A8}"/>
              </a:ext>
            </a:extLst>
          </p:cNvPr>
          <p:cNvCxnSpPr>
            <a:cxnSpLocks/>
            <a:stCxn id="5" idx="5"/>
            <a:endCxn id="17" idx="1"/>
          </p:cNvCxnSpPr>
          <p:nvPr/>
        </p:nvCxnSpPr>
        <p:spPr>
          <a:xfrm>
            <a:off x="5786877" y="5064093"/>
            <a:ext cx="1559535" cy="64215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B0F58C22-1F3E-4C16-ACC1-2C9FB0D465FE}"/>
              </a:ext>
            </a:extLst>
          </p:cNvPr>
          <p:cNvCxnSpPr>
            <a:cxnSpLocks/>
          </p:cNvCxnSpPr>
          <p:nvPr/>
        </p:nvCxnSpPr>
        <p:spPr>
          <a:xfrm>
            <a:off x="5798246" y="5075544"/>
            <a:ext cx="1559535" cy="64215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707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515312-E09B-434C-A76A-80A5BB9B7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xed Integer Linear </a:t>
            </a:r>
            <a:r>
              <a:rPr lang="de-DE" dirty="0" err="1"/>
              <a:t>Programming</a:t>
            </a:r>
            <a:r>
              <a:rPr lang="de-DE" dirty="0"/>
              <a:t> (MILP)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basi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VNE </a:t>
            </a:r>
            <a:r>
              <a:rPr lang="en-US" dirty="0"/>
              <a:t>algorithm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168A62-7851-4EE6-BBA5-56DD2C6F1B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620000"/>
            <a:ext cx="7776864" cy="4689320"/>
          </a:xfrm>
        </p:spPr>
        <p:txBody>
          <a:bodyPr/>
          <a:lstStyle/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/>
              <a:t>The </a:t>
            </a:r>
            <a:r>
              <a:rPr lang="de-DE" b="0" dirty="0" err="1"/>
              <a:t>mapping</a:t>
            </a:r>
            <a:r>
              <a:rPr lang="de-DE" b="0" dirty="0"/>
              <a:t> </a:t>
            </a:r>
            <a:r>
              <a:rPr lang="de-DE" b="0" dirty="0" err="1"/>
              <a:t>algorithm</a:t>
            </a:r>
            <a:r>
              <a:rPr lang="de-DE" b="0" dirty="0"/>
              <a:t> was </a:t>
            </a:r>
            <a:r>
              <a:rPr lang="de-DE" b="0" dirty="0" err="1"/>
              <a:t>implemented</a:t>
            </a:r>
            <a:r>
              <a:rPr lang="de-DE" b="0" dirty="0"/>
              <a:t> </a:t>
            </a:r>
            <a:r>
              <a:rPr lang="de-DE" b="0" dirty="0" err="1"/>
              <a:t>using</a:t>
            </a:r>
            <a:r>
              <a:rPr lang="de-DE" b="0" dirty="0"/>
              <a:t> </a:t>
            </a:r>
            <a:r>
              <a:rPr lang="de-DE" b="0" dirty="0" err="1">
                <a:hlinkClick r:id="rId2"/>
              </a:rPr>
              <a:t>JuMP</a:t>
            </a:r>
            <a:endParaRPr lang="de-DE" b="0" dirty="0"/>
          </a:p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 err="1"/>
              <a:t>JuMP</a:t>
            </a:r>
            <a:r>
              <a:rPr lang="de-DE" b="0" dirty="0"/>
              <a:t> </a:t>
            </a:r>
            <a:r>
              <a:rPr lang="de-DE" b="0" dirty="0" err="1"/>
              <a:t>is</a:t>
            </a:r>
            <a:r>
              <a:rPr lang="de-DE" b="0" dirty="0"/>
              <a:t> a Julia </a:t>
            </a:r>
            <a:r>
              <a:rPr lang="de-DE" b="0" dirty="0" err="1"/>
              <a:t>library</a:t>
            </a:r>
            <a:r>
              <a:rPr lang="de-DE" b="0" dirty="0"/>
              <a:t> 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mathematical</a:t>
            </a:r>
            <a:r>
              <a:rPr lang="de-DE" b="0" dirty="0"/>
              <a:t> </a:t>
            </a:r>
            <a:r>
              <a:rPr lang="de-DE" b="0" dirty="0" err="1"/>
              <a:t>optimization</a:t>
            </a:r>
            <a:r>
              <a:rPr lang="de-DE" b="0" dirty="0"/>
              <a:t> </a:t>
            </a:r>
            <a:r>
              <a:rPr lang="de-DE" b="0" dirty="0" err="1"/>
              <a:t>problems</a:t>
            </a:r>
            <a:r>
              <a:rPr lang="de-DE" b="0" dirty="0"/>
              <a:t> (such </a:t>
            </a:r>
            <a:r>
              <a:rPr lang="de-DE" b="0" dirty="0" err="1"/>
              <a:t>as</a:t>
            </a:r>
            <a:r>
              <a:rPr lang="de-DE" b="0" dirty="0"/>
              <a:t> MILP)</a:t>
            </a:r>
          </a:p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 err="1"/>
              <a:t>Results</a:t>
            </a:r>
            <a:r>
              <a:rPr lang="de-DE" b="0" dirty="0"/>
              <a:t> </a:t>
            </a:r>
            <a:r>
              <a:rPr lang="de-DE" b="0" dirty="0" err="1"/>
              <a:t>are</a:t>
            </a:r>
            <a:r>
              <a:rPr lang="de-DE" b="0" dirty="0"/>
              <a:t> </a:t>
            </a:r>
            <a:r>
              <a:rPr lang="de-DE" b="0" dirty="0" err="1"/>
              <a:t>documented</a:t>
            </a:r>
            <a:r>
              <a:rPr lang="de-DE" b="0" dirty="0"/>
              <a:t> in a </a:t>
            </a:r>
            <a:r>
              <a:rPr lang="de-DE" b="0" dirty="0" err="1">
                <a:hlinkClick r:id="rId3"/>
              </a:rPr>
              <a:t>Jupyter</a:t>
            </a:r>
            <a:r>
              <a:rPr lang="de-DE" b="0" dirty="0">
                <a:hlinkClick r:id="rId3"/>
              </a:rPr>
              <a:t> Notebook</a:t>
            </a:r>
            <a:endParaRPr lang="de-DE" b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C5CA16D-A676-4998-AE91-59ED7C2897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288" y="1588690"/>
            <a:ext cx="2623358" cy="177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460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1" name="Inhaltsplatzhalter 3">
                <a:extLst>
                  <a:ext uri="{FF2B5EF4-FFF2-40B4-BE49-F238E27FC236}">
                    <a16:creationId xmlns:a16="http://schemas.microsoft.com/office/drawing/2014/main" id="{010D5CCA-F5B7-40D3-83E3-3390D0988DC7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94391" y="1844825"/>
                <a:ext cx="3697050" cy="2160239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600" kern="0" dirty="0"/>
                  <a:t>The</a:t>
                </a:r>
                <a:r>
                  <a:rPr lang="de-DE" sz="1800" kern="0" dirty="0"/>
                  <a:t> VPP virtual network:</a:t>
                </a:r>
              </a:p>
              <a:p>
                <a:endParaRPr lang="de-DE" sz="1600" b="0" kern="0" dirty="0"/>
              </a:p>
              <a:p>
                <a:endParaRPr lang="de-DE" kern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b="0" kern="0" dirty="0"/>
                  <a:t>: </a:t>
                </a:r>
                <a:r>
                  <a:rPr lang="de-DE" sz="1600" b="0" kern="0" dirty="0" err="1"/>
                  <a:t>reliabil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PP</a:t>
                </a:r>
                <a:r>
                  <a:rPr lang="de-DE" sz="1600" b="0" i="1" kern="0" dirty="0"/>
                  <a:t>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b="0" kern="0" dirty="0"/>
                  <a:t>: 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PP</a:t>
                </a:r>
                <a:r>
                  <a:rPr lang="de-DE" sz="1600" b="0" i="1" kern="0" dirty="0"/>
                  <a:t> </a:t>
                </a:r>
              </a:p>
            </p:txBody>
          </p:sp>
        </mc:Choice>
        <mc:Fallback>
          <p:sp>
            <p:nvSpPr>
              <p:cNvPr id="11" name="Inhaltsplatzhalter 3">
                <a:extLst>
                  <a:ext uri="{FF2B5EF4-FFF2-40B4-BE49-F238E27FC236}">
                    <a16:creationId xmlns:a16="http://schemas.microsoft.com/office/drawing/2014/main" id="{010D5CCA-F5B7-40D3-83E3-3390D0988D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94391" y="1844825"/>
                <a:ext cx="3697050" cy="2160239"/>
              </a:xfrm>
              <a:prstGeom prst="roundRect">
                <a:avLst/>
              </a:prstGeom>
              <a:blipFill>
                <a:blip r:embed="rId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2C219220-57FE-4688-9D10-EE10EBB0D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PP virtual network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 </a:t>
            </a:r>
            <a:r>
              <a:rPr lang="de-DE" dirty="0" err="1"/>
              <a:t>o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network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Inhaltsplatzhalter 3">
                <a:extLst>
                  <a:ext uri="{FF2B5EF4-FFF2-40B4-BE49-F238E27FC236}">
                    <a16:creationId xmlns:a16="http://schemas.microsoft.com/office/drawing/2014/main" id="{D3CE92AB-AB86-4405-AFF8-E39730E113B6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519936" y="1844824"/>
                <a:ext cx="5112568" cy="4608511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 err="1"/>
                  <a:t>Node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mapping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constraints</a:t>
                </a:r>
                <a:r>
                  <a:rPr lang="de-DE" sz="1800" kern="0" dirty="0"/>
                  <a:t>:</a:t>
                </a:r>
              </a:p>
              <a:p>
                <a:r>
                  <a:rPr lang="de-DE" sz="1600" b="0" kern="0" dirty="0"/>
                  <a:t>A VPP </a:t>
                </a:r>
                <a:r>
                  <a:rPr lang="de-DE" sz="1600" b="0" kern="0" dirty="0" err="1"/>
                  <a:t>need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exactl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nagemen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fice</a:t>
                </a:r>
                <a:r>
                  <a:rPr lang="de-DE" sz="1600" b="0" kern="0" dirty="0"/>
                  <a:t>:</a:t>
                </a:r>
              </a:p>
              <a:p>
                <a:r>
                  <a:rPr lang="de-DE" sz="1800" b="0" kern="0" dirty="0">
                    <a:sym typeface="Wingdings" panose="05000000000000000000" pitchFamily="2" charset="2"/>
                  </a:rPr>
                  <a:t>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naryPr>
                      <m:sub/>
                      <m:sup/>
                      <m:e>
                        <m:sSubSup>
                          <m:sSubSup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𝑖</m:t>
                            </m:r>
                          </m:sub>
                          <m:sup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𝑚</m:t>
                            </m:r>
                          </m:sup>
                        </m:sSubSup>
                        <m: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=1</m:t>
                        </m:r>
                      </m:e>
                    </m:nary>
                  </m:oMath>
                </a14:m>
                <a:endParaRPr lang="de-DE" sz="1800" b="0" kern="0" dirty="0"/>
              </a:p>
              <a:p>
                <a:r>
                  <a:rPr lang="de-DE" sz="1600" b="0" kern="0" dirty="0"/>
                  <a:t>The virtual DER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an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b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multiple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s</a:t>
                </a:r>
                <a:r>
                  <a:rPr lang="de-DE" sz="1600" b="0" kern="0" dirty="0"/>
                  <a:t>:</a:t>
                </a:r>
              </a:p>
              <a:p>
                <a:r>
                  <a:rPr lang="de-DE" sz="1800" b="0" kern="0" dirty="0">
                    <a:sym typeface="Wingdings" panose="05000000000000000000" pitchFamily="2" charset="2"/>
                  </a:rPr>
                  <a:t>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naryPr>
                      <m:sub/>
                      <m:sup/>
                      <m:e>
                        <m:sSubSup>
                          <m:sSubSup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𝑖</m:t>
                            </m:r>
                          </m:sub>
                          <m:sup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𝐷𝐸𝑅</m:t>
                            </m:r>
                          </m:sup>
                        </m:sSubSup>
                        <m: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≥1</m:t>
                        </m:r>
                      </m:e>
                    </m:nary>
                  </m:oMath>
                </a14:m>
                <a:endParaRPr lang="de-DE" sz="1800" b="0" kern="0" dirty="0"/>
              </a:p>
              <a:p>
                <a:r>
                  <a:rPr lang="de-DE" sz="1800" kern="0" dirty="0"/>
                  <a:t>Link </a:t>
                </a:r>
                <a:r>
                  <a:rPr lang="de-DE" sz="1800" kern="0" dirty="0" err="1"/>
                  <a:t>mapping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constraints</a:t>
                </a:r>
                <a:r>
                  <a:rPr lang="de-DE" sz="1800" kern="0" dirty="0"/>
                  <a:t>:</a:t>
                </a:r>
              </a:p>
              <a:p>
                <a:r>
                  <a:rPr lang="de-DE" sz="1600" b="0" kern="0" dirty="0"/>
                  <a:t>The multi-</a:t>
                </a:r>
                <a:r>
                  <a:rPr lang="de-DE" sz="1600" b="0" kern="0" dirty="0" err="1"/>
                  <a:t>commod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flow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a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us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ens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a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DERs and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nagemen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fic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a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nected</a:t>
                </a:r>
                <a:endParaRPr lang="de-DE" sz="1600" b="0" kern="0" dirty="0"/>
              </a:p>
            </p:txBody>
          </p:sp>
        </mc:Choice>
        <mc:Fallback>
          <p:sp>
            <p:nvSpPr>
              <p:cNvPr id="14" name="Inhaltsplatzhalter 3">
                <a:extLst>
                  <a:ext uri="{FF2B5EF4-FFF2-40B4-BE49-F238E27FC236}">
                    <a16:creationId xmlns:a16="http://schemas.microsoft.com/office/drawing/2014/main" id="{D3CE92AB-AB86-4405-AFF8-E39730E113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9936" y="1844824"/>
                <a:ext cx="5112568" cy="4608511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Inhaltsplatzhalter 3">
                <a:extLst>
                  <a:ext uri="{FF2B5EF4-FFF2-40B4-BE49-F238E27FC236}">
                    <a16:creationId xmlns:a16="http://schemas.microsoft.com/office/drawing/2014/main" id="{FA5A620C-4002-4C3F-BE0B-4B5E0036D6C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94391" y="4149080"/>
                <a:ext cx="3697050" cy="230425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/>
                  <a:t>Node </a:t>
                </a:r>
                <a:r>
                  <a:rPr lang="de-DE" sz="1800" kern="0" dirty="0" err="1"/>
                  <a:t>activation</a:t>
                </a:r>
                <a:r>
                  <a:rPr lang="de-DE" sz="1800" kern="0" dirty="0"/>
                  <a:t> variables:</a:t>
                </a:r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sup>
                    </m:sSubSup>
                  </m:oMath>
                </a14:m>
                <a:r>
                  <a:rPr lang="de-DE" sz="1600" b="0" kern="0" dirty="0"/>
                  <a:t> : </a:t>
                </a:r>
                <a:r>
                  <a:rPr lang="de-DE" sz="1600" b="0" kern="0" dirty="0" err="1"/>
                  <a:t>define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irtual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u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i</a:t>
                </a:r>
                <a:endParaRPr lang="de-DE" sz="1600" b="0" kern="0" dirty="0"/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𝑣</m:t>
                        </m:r>
                      </m:sup>
                    </m:sSubSup>
                  </m:oMath>
                </a14:m>
                <a:r>
                  <a:rPr lang="de-DE" sz="1600" b="0" kern="0" dirty="0"/>
                  <a:t> : </a:t>
                </a:r>
                <a:r>
                  <a:rPr lang="de-DE" sz="1600" b="0" kern="0" dirty="0" err="1"/>
                  <a:t>define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irtual link </a:t>
                </a:r>
                <a:r>
                  <a:rPr lang="de-DE" sz="1600" b="0" i="1" kern="0" dirty="0"/>
                  <a:t>(</a:t>
                </a:r>
                <a:r>
                  <a:rPr lang="de-DE" sz="1600" b="0" i="1" kern="0" dirty="0" err="1"/>
                  <a:t>u,v</a:t>
                </a:r>
                <a:r>
                  <a:rPr lang="de-DE" sz="1600" b="0" i="1" kern="0" dirty="0"/>
                  <a:t>) </a:t>
                </a:r>
                <a:r>
                  <a:rPr lang="de-DE" sz="1600" b="0" kern="0" dirty="0" err="1"/>
                  <a:t>i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link </a:t>
                </a:r>
                <a:r>
                  <a:rPr lang="de-DE" sz="1600" b="0" i="1" kern="0" dirty="0"/>
                  <a:t>(</a:t>
                </a:r>
                <a:r>
                  <a:rPr lang="de-DE" sz="1600" b="0" i="1" kern="0" dirty="0" err="1"/>
                  <a:t>i,j</a:t>
                </a:r>
                <a:r>
                  <a:rPr lang="de-DE" sz="1600" b="0" i="1" kern="0" dirty="0"/>
                  <a:t>)</a:t>
                </a:r>
                <a:endParaRPr lang="de-DE" kern="0" dirty="0"/>
              </a:p>
            </p:txBody>
          </p:sp>
        </mc:Choice>
        <mc:Fallback>
          <p:sp>
            <p:nvSpPr>
              <p:cNvPr id="15" name="Inhaltsplatzhalter 3">
                <a:extLst>
                  <a:ext uri="{FF2B5EF4-FFF2-40B4-BE49-F238E27FC236}">
                    <a16:creationId xmlns:a16="http://schemas.microsoft.com/office/drawing/2014/main" id="{FA5A620C-4002-4C3F-BE0B-4B5E0036D6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94391" y="4149080"/>
                <a:ext cx="3697050" cy="2304256"/>
              </a:xfrm>
              <a:prstGeom prst="roundRect">
                <a:avLst/>
              </a:prstGeom>
              <a:blipFill>
                <a:blip r:embed="rId4"/>
                <a:stretch>
                  <a:fillRect b="-1571"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Grafik 3">
            <a:extLst>
              <a:ext uri="{FF2B5EF4-FFF2-40B4-BE49-F238E27FC236}">
                <a16:creationId xmlns:a16="http://schemas.microsoft.com/office/drawing/2014/main" id="{AC0E0EC6-ABCC-419B-A6EF-408DB5D0834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531" b="10269"/>
          <a:stretch/>
        </p:blipFill>
        <p:spPr>
          <a:xfrm>
            <a:off x="1212289" y="2250236"/>
            <a:ext cx="2495600" cy="97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582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63C44334-6841-42A2-99C9-D12F3B4A8384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148748" y="1568084"/>
                <a:ext cx="6569825" cy="5059604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kern="0" dirty="0"/>
                  <a:t>Power </a:t>
                </a:r>
                <a:r>
                  <a:rPr lang="de-DE" kern="0" dirty="0" err="1"/>
                  <a:t>output</a:t>
                </a:r>
                <a:r>
                  <a:rPr lang="de-DE" kern="0" dirty="0"/>
                  <a:t>: </a:t>
                </a:r>
                <a:r>
                  <a:rPr lang="de-DE" sz="1800" b="0" kern="0" dirty="0" err="1"/>
                  <a:t>analyz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given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pre-defin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reliability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levels</a:t>
                </a:r>
                <a:r>
                  <a:rPr lang="de-DE" sz="1800" b="0" kern="0" dirty="0"/>
                  <a:t> (</a:t>
                </a:r>
                <a:r>
                  <a:rPr lang="de-DE" sz="1800" b="0" kern="0" dirty="0" err="1"/>
                  <a:t>e.g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𝑙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[0.4 0.5 0.7]</m:t>
                    </m:r>
                  </m:oMath>
                </a14:m>
                <a:r>
                  <a:rPr lang="de-DE" sz="1800" b="0" kern="0" dirty="0"/>
                  <a:t>) </a:t>
                </a:r>
                <a:endParaRPr lang="de-DE" kern="0" dirty="0"/>
              </a:p>
              <a:p>
                <a:endParaRPr lang="de-DE" kern="0" dirty="0"/>
              </a:p>
              <a:p>
                <a:endParaRPr lang="de-DE" kern="0" dirty="0"/>
              </a:p>
              <a:p>
                <a:endParaRPr lang="de-DE" kern="0" dirty="0"/>
              </a:p>
              <a:p>
                <a:pPr>
                  <a:spcAft>
                    <a:spcPts val="0"/>
                  </a:spcAft>
                </a:pPr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kern="0" dirty="0"/>
              </a:p>
            </p:txBody>
          </p:sp>
        </mc:Choice>
        <mc:Fallback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63C44334-6841-42A2-99C9-D12F3B4A83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148748" y="1568084"/>
                <a:ext cx="6569825" cy="5059604"/>
              </a:xfrm>
              <a:prstGeom prst="roundRect">
                <a:avLst/>
              </a:prstGeom>
              <a:blipFill>
                <a:blip r:embed="rId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6B0488C6-9A01-4D4E-9FAE-EB2B8133F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VPP‘s</a:t>
            </a:r>
            <a:r>
              <a:rPr lang="de-DE" dirty="0"/>
              <a:t>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depends</a:t>
            </a:r>
            <a:r>
              <a:rPr lang="de-DE" dirty="0"/>
              <a:t> on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factor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8B72707-3C94-4A9F-8D53-9F21E87133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718" y="1598420"/>
            <a:ext cx="4057090" cy="5029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Power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DER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1600" dirty="0"/>
          </a:p>
          <a:p>
            <a:endParaRPr lang="de-DE" sz="1600" dirty="0"/>
          </a:p>
          <a:p>
            <a:r>
              <a:rPr lang="de-DE" sz="1800" dirty="0"/>
              <a:t>Communication link </a:t>
            </a:r>
            <a:r>
              <a:rPr lang="de-DE" sz="1800" dirty="0" err="1"/>
              <a:t>reliability</a:t>
            </a:r>
            <a:endParaRPr lang="de-DE" sz="18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7205174-0200-4859-A008-09A20B5C5E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61" y="5135875"/>
            <a:ext cx="952500" cy="952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290A0B6-D2CB-4729-B8CC-4B505588FA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3632" y="5299975"/>
            <a:ext cx="1047173" cy="739409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05CE6D5-38A9-4E9B-BC7E-2DF8ED7A5537}"/>
              </a:ext>
            </a:extLst>
          </p:cNvPr>
          <p:cNvCxnSpPr>
            <a:cxnSpLocks/>
          </p:cNvCxnSpPr>
          <p:nvPr/>
        </p:nvCxnSpPr>
        <p:spPr>
          <a:xfrm>
            <a:off x="1640452" y="5594855"/>
            <a:ext cx="114318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1" name="Grafik 10" descr="Ein Bild, das Nachthimmel enthält.&#10;&#10;Automatisch generierte Beschreibung">
            <a:extLst>
              <a:ext uri="{FF2B5EF4-FFF2-40B4-BE49-F238E27FC236}">
                <a16:creationId xmlns:a16="http://schemas.microsoft.com/office/drawing/2014/main" id="{53CF05A7-60C0-41A9-AE68-B76251F59E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72325">
            <a:off x="1994751" y="5382744"/>
            <a:ext cx="353227" cy="40194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4E2A89C-64EE-4D6D-A1A2-B63BB757BA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127" y="2990599"/>
            <a:ext cx="1047173" cy="739409"/>
          </a:xfrm>
          <a:prstGeom prst="rect">
            <a:avLst/>
          </a:prstGeom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BB24DE7E-0E87-4189-8667-B24184512F03}"/>
              </a:ext>
            </a:extLst>
          </p:cNvPr>
          <p:cNvSpPr/>
          <p:nvPr/>
        </p:nvSpPr>
        <p:spPr>
          <a:xfrm>
            <a:off x="3974912" y="2474826"/>
            <a:ext cx="189734" cy="1757193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4974BCD-F0F3-4972-B10C-91746D3621CB}"/>
              </a:ext>
            </a:extLst>
          </p:cNvPr>
          <p:cNvCxnSpPr>
            <a:cxnSpLocks/>
          </p:cNvCxnSpPr>
          <p:nvPr/>
        </p:nvCxnSpPr>
        <p:spPr>
          <a:xfrm>
            <a:off x="4151784" y="3360303"/>
            <a:ext cx="996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6C548CF3-13EE-465F-872E-089409FA6BF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4" t="11423" r="8164"/>
          <a:stretch/>
        </p:blipFill>
        <p:spPr>
          <a:xfrm>
            <a:off x="1483620" y="2499696"/>
            <a:ext cx="2405960" cy="182956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C85818C0-581A-4F2A-9620-C2958984ADC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4" t="11423" r="8164"/>
          <a:stretch/>
        </p:blipFill>
        <p:spPr>
          <a:xfrm>
            <a:off x="7043254" y="2564571"/>
            <a:ext cx="3401855" cy="258687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B46A196-4F46-4271-8A2D-A62CE73B16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9209" y="3483119"/>
            <a:ext cx="1047173" cy="739409"/>
          </a:xfrm>
          <a:prstGeom prst="rect">
            <a:avLst/>
          </a:prstGeom>
        </p:spPr>
      </p:pic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6B196C01-F83C-4DC5-8A93-7E21C8B2FDC3}"/>
              </a:ext>
            </a:extLst>
          </p:cNvPr>
          <p:cNvSpPr txBox="1">
            <a:spLocks/>
          </p:cNvSpPr>
          <p:nvPr/>
        </p:nvSpPr>
        <p:spPr bwMode="auto">
          <a:xfrm>
            <a:off x="5335731" y="5892006"/>
            <a:ext cx="6195857" cy="511851"/>
          </a:xfrm>
          <a:custGeom>
            <a:avLst/>
            <a:gdLst>
              <a:gd name="connsiteX0" fmla="*/ 0 w 6569825"/>
              <a:gd name="connsiteY0" fmla="*/ 153892 h 923331"/>
              <a:gd name="connsiteX1" fmla="*/ 153892 w 6569825"/>
              <a:gd name="connsiteY1" fmla="*/ 0 h 923331"/>
              <a:gd name="connsiteX2" fmla="*/ 6415933 w 6569825"/>
              <a:gd name="connsiteY2" fmla="*/ 0 h 923331"/>
              <a:gd name="connsiteX3" fmla="*/ 6569825 w 6569825"/>
              <a:gd name="connsiteY3" fmla="*/ 153892 h 923331"/>
              <a:gd name="connsiteX4" fmla="*/ 6569825 w 6569825"/>
              <a:gd name="connsiteY4" fmla="*/ 769439 h 923331"/>
              <a:gd name="connsiteX5" fmla="*/ 6415933 w 6569825"/>
              <a:gd name="connsiteY5" fmla="*/ 923331 h 923331"/>
              <a:gd name="connsiteX6" fmla="*/ 153892 w 6569825"/>
              <a:gd name="connsiteY6" fmla="*/ 923331 h 923331"/>
              <a:gd name="connsiteX7" fmla="*/ 0 w 6569825"/>
              <a:gd name="connsiteY7" fmla="*/ 769439 h 923331"/>
              <a:gd name="connsiteX8" fmla="*/ 0 w 6569825"/>
              <a:gd name="connsiteY8" fmla="*/ 153892 h 923331"/>
              <a:gd name="connsiteX0" fmla="*/ 731 w 6570556"/>
              <a:gd name="connsiteY0" fmla="*/ 153892 h 923331"/>
              <a:gd name="connsiteX1" fmla="*/ 154623 w 6570556"/>
              <a:gd name="connsiteY1" fmla="*/ 0 h 923331"/>
              <a:gd name="connsiteX2" fmla="*/ 6416664 w 6570556"/>
              <a:gd name="connsiteY2" fmla="*/ 0 h 923331"/>
              <a:gd name="connsiteX3" fmla="*/ 6570556 w 6570556"/>
              <a:gd name="connsiteY3" fmla="*/ 153892 h 923331"/>
              <a:gd name="connsiteX4" fmla="*/ 6570556 w 6570556"/>
              <a:gd name="connsiteY4" fmla="*/ 769439 h 923331"/>
              <a:gd name="connsiteX5" fmla="*/ 6416664 w 6570556"/>
              <a:gd name="connsiteY5" fmla="*/ 923331 h 923331"/>
              <a:gd name="connsiteX6" fmla="*/ 154623 w 6570556"/>
              <a:gd name="connsiteY6" fmla="*/ 923331 h 923331"/>
              <a:gd name="connsiteX7" fmla="*/ 731 w 6570556"/>
              <a:gd name="connsiteY7" fmla="*/ 769439 h 923331"/>
              <a:gd name="connsiteX8" fmla="*/ 731 w 6570556"/>
              <a:gd name="connsiteY8" fmla="*/ 153892 h 923331"/>
              <a:gd name="connsiteX0" fmla="*/ 195 w 6570020"/>
              <a:gd name="connsiteY0" fmla="*/ 153892 h 923331"/>
              <a:gd name="connsiteX1" fmla="*/ 154087 w 6570020"/>
              <a:gd name="connsiteY1" fmla="*/ 0 h 923331"/>
              <a:gd name="connsiteX2" fmla="*/ 6416128 w 6570020"/>
              <a:gd name="connsiteY2" fmla="*/ 0 h 923331"/>
              <a:gd name="connsiteX3" fmla="*/ 6570020 w 6570020"/>
              <a:gd name="connsiteY3" fmla="*/ 153892 h 923331"/>
              <a:gd name="connsiteX4" fmla="*/ 6570020 w 6570020"/>
              <a:gd name="connsiteY4" fmla="*/ 769439 h 923331"/>
              <a:gd name="connsiteX5" fmla="*/ 6416128 w 6570020"/>
              <a:gd name="connsiteY5" fmla="*/ 923331 h 923331"/>
              <a:gd name="connsiteX6" fmla="*/ 391831 w 6570020"/>
              <a:gd name="connsiteY6" fmla="*/ 649011 h 923331"/>
              <a:gd name="connsiteX7" fmla="*/ 195 w 6570020"/>
              <a:gd name="connsiteY7" fmla="*/ 769439 h 923331"/>
              <a:gd name="connsiteX8" fmla="*/ 195 w 6570020"/>
              <a:gd name="connsiteY8" fmla="*/ 153892 h 923331"/>
              <a:gd name="connsiteX0" fmla="*/ 228795 w 6570020"/>
              <a:gd name="connsiteY0" fmla="*/ 89884 h 923331"/>
              <a:gd name="connsiteX1" fmla="*/ 154087 w 6570020"/>
              <a:gd name="connsiteY1" fmla="*/ 0 h 923331"/>
              <a:gd name="connsiteX2" fmla="*/ 6416128 w 6570020"/>
              <a:gd name="connsiteY2" fmla="*/ 0 h 923331"/>
              <a:gd name="connsiteX3" fmla="*/ 6570020 w 6570020"/>
              <a:gd name="connsiteY3" fmla="*/ 153892 h 923331"/>
              <a:gd name="connsiteX4" fmla="*/ 6570020 w 6570020"/>
              <a:gd name="connsiteY4" fmla="*/ 769439 h 923331"/>
              <a:gd name="connsiteX5" fmla="*/ 6416128 w 6570020"/>
              <a:gd name="connsiteY5" fmla="*/ 923331 h 923331"/>
              <a:gd name="connsiteX6" fmla="*/ 391831 w 6570020"/>
              <a:gd name="connsiteY6" fmla="*/ 649011 h 923331"/>
              <a:gd name="connsiteX7" fmla="*/ 195 w 6570020"/>
              <a:gd name="connsiteY7" fmla="*/ 769439 h 923331"/>
              <a:gd name="connsiteX8" fmla="*/ 228795 w 6570020"/>
              <a:gd name="connsiteY8" fmla="*/ 89884 h 923331"/>
              <a:gd name="connsiteX0" fmla="*/ 99626 w 6440851"/>
              <a:gd name="connsiteY0" fmla="*/ 89884 h 923331"/>
              <a:gd name="connsiteX1" fmla="*/ 24918 w 6440851"/>
              <a:gd name="connsiteY1" fmla="*/ 0 h 923331"/>
              <a:gd name="connsiteX2" fmla="*/ 6286959 w 6440851"/>
              <a:gd name="connsiteY2" fmla="*/ 0 h 923331"/>
              <a:gd name="connsiteX3" fmla="*/ 6440851 w 6440851"/>
              <a:gd name="connsiteY3" fmla="*/ 153892 h 923331"/>
              <a:gd name="connsiteX4" fmla="*/ 6440851 w 6440851"/>
              <a:gd name="connsiteY4" fmla="*/ 769439 h 923331"/>
              <a:gd name="connsiteX5" fmla="*/ 6286959 w 6440851"/>
              <a:gd name="connsiteY5" fmla="*/ 923331 h 923331"/>
              <a:gd name="connsiteX6" fmla="*/ 262662 w 6440851"/>
              <a:gd name="connsiteY6" fmla="*/ 649011 h 923331"/>
              <a:gd name="connsiteX7" fmla="*/ 127058 w 6440851"/>
              <a:gd name="connsiteY7" fmla="*/ 604847 h 923331"/>
              <a:gd name="connsiteX8" fmla="*/ 99626 w 6440851"/>
              <a:gd name="connsiteY8" fmla="*/ 89884 h 923331"/>
              <a:gd name="connsiteX0" fmla="*/ 45887 w 6387112"/>
              <a:gd name="connsiteY0" fmla="*/ 89884 h 923331"/>
              <a:gd name="connsiteX1" fmla="*/ 35187 w 6387112"/>
              <a:gd name="connsiteY1" fmla="*/ 0 h 923331"/>
              <a:gd name="connsiteX2" fmla="*/ 6233220 w 6387112"/>
              <a:gd name="connsiteY2" fmla="*/ 0 h 923331"/>
              <a:gd name="connsiteX3" fmla="*/ 6387112 w 6387112"/>
              <a:gd name="connsiteY3" fmla="*/ 153892 h 923331"/>
              <a:gd name="connsiteX4" fmla="*/ 6387112 w 6387112"/>
              <a:gd name="connsiteY4" fmla="*/ 769439 h 923331"/>
              <a:gd name="connsiteX5" fmla="*/ 6233220 w 6387112"/>
              <a:gd name="connsiteY5" fmla="*/ 923331 h 923331"/>
              <a:gd name="connsiteX6" fmla="*/ 208923 w 6387112"/>
              <a:gd name="connsiteY6" fmla="*/ 649011 h 923331"/>
              <a:gd name="connsiteX7" fmla="*/ 73319 w 6387112"/>
              <a:gd name="connsiteY7" fmla="*/ 604847 h 923331"/>
              <a:gd name="connsiteX8" fmla="*/ 45887 w 6387112"/>
              <a:gd name="connsiteY8" fmla="*/ 89884 h 923331"/>
              <a:gd name="connsiteX0" fmla="*/ 45887 w 6387881"/>
              <a:gd name="connsiteY0" fmla="*/ 89884 h 791577"/>
              <a:gd name="connsiteX1" fmla="*/ 35187 w 6387881"/>
              <a:gd name="connsiteY1" fmla="*/ 0 h 791577"/>
              <a:gd name="connsiteX2" fmla="*/ 6233220 w 6387881"/>
              <a:gd name="connsiteY2" fmla="*/ 0 h 791577"/>
              <a:gd name="connsiteX3" fmla="*/ 6387112 w 6387881"/>
              <a:gd name="connsiteY3" fmla="*/ 153892 h 791577"/>
              <a:gd name="connsiteX4" fmla="*/ 6387112 w 6387881"/>
              <a:gd name="connsiteY4" fmla="*/ 769439 h 791577"/>
              <a:gd name="connsiteX5" fmla="*/ 6315516 w 6387881"/>
              <a:gd name="connsiteY5" fmla="*/ 667299 h 791577"/>
              <a:gd name="connsiteX6" fmla="*/ 208923 w 6387881"/>
              <a:gd name="connsiteY6" fmla="*/ 649011 h 791577"/>
              <a:gd name="connsiteX7" fmla="*/ 73319 w 6387881"/>
              <a:gd name="connsiteY7" fmla="*/ 604847 h 791577"/>
              <a:gd name="connsiteX8" fmla="*/ 45887 w 6387881"/>
              <a:gd name="connsiteY8" fmla="*/ 89884 h 791577"/>
              <a:gd name="connsiteX0" fmla="*/ 45887 w 6387881"/>
              <a:gd name="connsiteY0" fmla="*/ 92591 h 794284"/>
              <a:gd name="connsiteX1" fmla="*/ 35187 w 6387881"/>
              <a:gd name="connsiteY1" fmla="*/ 2707 h 794284"/>
              <a:gd name="connsiteX2" fmla="*/ 6233220 w 6387881"/>
              <a:gd name="connsiteY2" fmla="*/ 2707 h 794284"/>
              <a:gd name="connsiteX3" fmla="*/ 6304816 w 6387881"/>
              <a:gd name="connsiteY3" fmla="*/ 65159 h 794284"/>
              <a:gd name="connsiteX4" fmla="*/ 6387112 w 6387881"/>
              <a:gd name="connsiteY4" fmla="*/ 772146 h 794284"/>
              <a:gd name="connsiteX5" fmla="*/ 6315516 w 6387881"/>
              <a:gd name="connsiteY5" fmla="*/ 670006 h 794284"/>
              <a:gd name="connsiteX6" fmla="*/ 208923 w 6387881"/>
              <a:gd name="connsiteY6" fmla="*/ 651718 h 794284"/>
              <a:gd name="connsiteX7" fmla="*/ 73319 w 6387881"/>
              <a:gd name="connsiteY7" fmla="*/ 607554 h 794284"/>
              <a:gd name="connsiteX8" fmla="*/ 45887 w 6387881"/>
              <a:gd name="connsiteY8" fmla="*/ 92591 h 794284"/>
              <a:gd name="connsiteX0" fmla="*/ 45887 w 6341520"/>
              <a:gd name="connsiteY0" fmla="*/ 92591 h 670006"/>
              <a:gd name="connsiteX1" fmla="*/ 35187 w 6341520"/>
              <a:gd name="connsiteY1" fmla="*/ 2707 h 670006"/>
              <a:gd name="connsiteX2" fmla="*/ 6233220 w 6341520"/>
              <a:gd name="connsiteY2" fmla="*/ 2707 h 670006"/>
              <a:gd name="connsiteX3" fmla="*/ 6304816 w 6341520"/>
              <a:gd name="connsiteY3" fmla="*/ 65159 h 670006"/>
              <a:gd name="connsiteX4" fmla="*/ 6249952 w 6341520"/>
              <a:gd name="connsiteY4" fmla="*/ 351522 h 670006"/>
              <a:gd name="connsiteX5" fmla="*/ 6315516 w 6341520"/>
              <a:gd name="connsiteY5" fmla="*/ 670006 h 670006"/>
              <a:gd name="connsiteX6" fmla="*/ 208923 w 6341520"/>
              <a:gd name="connsiteY6" fmla="*/ 651718 h 670006"/>
              <a:gd name="connsiteX7" fmla="*/ 73319 w 6341520"/>
              <a:gd name="connsiteY7" fmla="*/ 607554 h 670006"/>
              <a:gd name="connsiteX8" fmla="*/ 45887 w 6341520"/>
              <a:gd name="connsiteY8" fmla="*/ 92591 h 670006"/>
              <a:gd name="connsiteX0" fmla="*/ 45887 w 6358175"/>
              <a:gd name="connsiteY0" fmla="*/ 92591 h 670006"/>
              <a:gd name="connsiteX1" fmla="*/ 35187 w 6358175"/>
              <a:gd name="connsiteY1" fmla="*/ 2707 h 670006"/>
              <a:gd name="connsiteX2" fmla="*/ 6233220 w 6358175"/>
              <a:gd name="connsiteY2" fmla="*/ 2707 h 670006"/>
              <a:gd name="connsiteX3" fmla="*/ 6304816 w 6358175"/>
              <a:gd name="connsiteY3" fmla="*/ 65159 h 670006"/>
              <a:gd name="connsiteX4" fmla="*/ 6332248 w 6358175"/>
              <a:gd name="connsiteY4" fmla="*/ 424674 h 670006"/>
              <a:gd name="connsiteX5" fmla="*/ 6315516 w 6358175"/>
              <a:gd name="connsiteY5" fmla="*/ 670006 h 670006"/>
              <a:gd name="connsiteX6" fmla="*/ 208923 w 6358175"/>
              <a:gd name="connsiteY6" fmla="*/ 651718 h 670006"/>
              <a:gd name="connsiteX7" fmla="*/ 73319 w 6358175"/>
              <a:gd name="connsiteY7" fmla="*/ 607554 h 670006"/>
              <a:gd name="connsiteX8" fmla="*/ 45887 w 6358175"/>
              <a:gd name="connsiteY8" fmla="*/ 92591 h 670006"/>
              <a:gd name="connsiteX0" fmla="*/ 45887 w 6338028"/>
              <a:gd name="connsiteY0" fmla="*/ 92591 h 653069"/>
              <a:gd name="connsiteX1" fmla="*/ 35187 w 6338028"/>
              <a:gd name="connsiteY1" fmla="*/ 2707 h 653069"/>
              <a:gd name="connsiteX2" fmla="*/ 6233220 w 6338028"/>
              <a:gd name="connsiteY2" fmla="*/ 2707 h 653069"/>
              <a:gd name="connsiteX3" fmla="*/ 6304816 w 6338028"/>
              <a:gd name="connsiteY3" fmla="*/ 65159 h 653069"/>
              <a:gd name="connsiteX4" fmla="*/ 6332248 w 6338028"/>
              <a:gd name="connsiteY4" fmla="*/ 424674 h 653069"/>
              <a:gd name="connsiteX5" fmla="*/ 6278940 w 6338028"/>
              <a:gd name="connsiteY5" fmla="*/ 505414 h 653069"/>
              <a:gd name="connsiteX6" fmla="*/ 208923 w 6338028"/>
              <a:gd name="connsiteY6" fmla="*/ 651718 h 653069"/>
              <a:gd name="connsiteX7" fmla="*/ 73319 w 6338028"/>
              <a:gd name="connsiteY7" fmla="*/ 607554 h 653069"/>
              <a:gd name="connsiteX8" fmla="*/ 45887 w 6338028"/>
              <a:gd name="connsiteY8" fmla="*/ 92591 h 653069"/>
              <a:gd name="connsiteX0" fmla="*/ 45887 w 6338028"/>
              <a:gd name="connsiteY0" fmla="*/ 92591 h 651718"/>
              <a:gd name="connsiteX1" fmla="*/ 35187 w 6338028"/>
              <a:gd name="connsiteY1" fmla="*/ 2707 h 651718"/>
              <a:gd name="connsiteX2" fmla="*/ 6233220 w 6338028"/>
              <a:gd name="connsiteY2" fmla="*/ 2707 h 651718"/>
              <a:gd name="connsiteX3" fmla="*/ 6304816 w 6338028"/>
              <a:gd name="connsiteY3" fmla="*/ 65159 h 651718"/>
              <a:gd name="connsiteX4" fmla="*/ 6332248 w 6338028"/>
              <a:gd name="connsiteY4" fmla="*/ 424674 h 651718"/>
              <a:gd name="connsiteX5" fmla="*/ 6278940 w 6338028"/>
              <a:gd name="connsiteY5" fmla="*/ 505414 h 651718"/>
              <a:gd name="connsiteX6" fmla="*/ 208923 w 6338028"/>
              <a:gd name="connsiteY6" fmla="*/ 651718 h 651718"/>
              <a:gd name="connsiteX7" fmla="*/ 73319 w 6338028"/>
              <a:gd name="connsiteY7" fmla="*/ 525258 h 651718"/>
              <a:gd name="connsiteX8" fmla="*/ 45887 w 6338028"/>
              <a:gd name="connsiteY8" fmla="*/ 92591 h 651718"/>
              <a:gd name="connsiteX0" fmla="*/ 45887 w 6338028"/>
              <a:gd name="connsiteY0" fmla="*/ 92591 h 548333"/>
              <a:gd name="connsiteX1" fmla="*/ 35187 w 6338028"/>
              <a:gd name="connsiteY1" fmla="*/ 2707 h 548333"/>
              <a:gd name="connsiteX2" fmla="*/ 6233220 w 6338028"/>
              <a:gd name="connsiteY2" fmla="*/ 2707 h 548333"/>
              <a:gd name="connsiteX3" fmla="*/ 6304816 w 6338028"/>
              <a:gd name="connsiteY3" fmla="*/ 65159 h 548333"/>
              <a:gd name="connsiteX4" fmla="*/ 6332248 w 6338028"/>
              <a:gd name="connsiteY4" fmla="*/ 424674 h 548333"/>
              <a:gd name="connsiteX5" fmla="*/ 6278940 w 6338028"/>
              <a:gd name="connsiteY5" fmla="*/ 505414 h 548333"/>
              <a:gd name="connsiteX6" fmla="*/ 181491 w 6338028"/>
              <a:gd name="connsiteY6" fmla="*/ 514558 h 548333"/>
              <a:gd name="connsiteX7" fmla="*/ 73319 w 6338028"/>
              <a:gd name="connsiteY7" fmla="*/ 525258 h 548333"/>
              <a:gd name="connsiteX8" fmla="*/ 45887 w 6338028"/>
              <a:gd name="connsiteY8" fmla="*/ 92591 h 548333"/>
              <a:gd name="connsiteX0" fmla="*/ 45887 w 6338028"/>
              <a:gd name="connsiteY0" fmla="*/ 92591 h 514558"/>
              <a:gd name="connsiteX1" fmla="*/ 35187 w 6338028"/>
              <a:gd name="connsiteY1" fmla="*/ 2707 h 514558"/>
              <a:gd name="connsiteX2" fmla="*/ 6233220 w 6338028"/>
              <a:gd name="connsiteY2" fmla="*/ 2707 h 514558"/>
              <a:gd name="connsiteX3" fmla="*/ 6304816 w 6338028"/>
              <a:gd name="connsiteY3" fmla="*/ 65159 h 514558"/>
              <a:gd name="connsiteX4" fmla="*/ 6332248 w 6338028"/>
              <a:gd name="connsiteY4" fmla="*/ 424674 h 514558"/>
              <a:gd name="connsiteX5" fmla="*/ 6278940 w 6338028"/>
              <a:gd name="connsiteY5" fmla="*/ 505414 h 514558"/>
              <a:gd name="connsiteX6" fmla="*/ 181491 w 6338028"/>
              <a:gd name="connsiteY6" fmla="*/ 514558 h 514558"/>
              <a:gd name="connsiteX7" fmla="*/ 100751 w 6338028"/>
              <a:gd name="connsiteY7" fmla="*/ 360666 h 514558"/>
              <a:gd name="connsiteX8" fmla="*/ 45887 w 6338028"/>
              <a:gd name="connsiteY8" fmla="*/ 92591 h 514558"/>
              <a:gd name="connsiteX0" fmla="*/ 45887 w 6332248"/>
              <a:gd name="connsiteY0" fmla="*/ 92591 h 514558"/>
              <a:gd name="connsiteX1" fmla="*/ 35187 w 6332248"/>
              <a:gd name="connsiteY1" fmla="*/ 2707 h 514558"/>
              <a:gd name="connsiteX2" fmla="*/ 6233220 w 6332248"/>
              <a:gd name="connsiteY2" fmla="*/ 2707 h 514558"/>
              <a:gd name="connsiteX3" fmla="*/ 6304816 w 6332248"/>
              <a:gd name="connsiteY3" fmla="*/ 65159 h 514558"/>
              <a:gd name="connsiteX4" fmla="*/ 6332248 w 6332248"/>
              <a:gd name="connsiteY4" fmla="*/ 424674 h 514558"/>
              <a:gd name="connsiteX5" fmla="*/ 6178356 w 6332248"/>
              <a:gd name="connsiteY5" fmla="*/ 514558 h 514558"/>
              <a:gd name="connsiteX6" fmla="*/ 181491 w 6332248"/>
              <a:gd name="connsiteY6" fmla="*/ 514558 h 514558"/>
              <a:gd name="connsiteX7" fmla="*/ 100751 w 6332248"/>
              <a:gd name="connsiteY7" fmla="*/ 360666 h 514558"/>
              <a:gd name="connsiteX8" fmla="*/ 45887 w 6332248"/>
              <a:gd name="connsiteY8" fmla="*/ 92591 h 514558"/>
              <a:gd name="connsiteX0" fmla="*/ 45887 w 6305585"/>
              <a:gd name="connsiteY0" fmla="*/ 92591 h 514558"/>
              <a:gd name="connsiteX1" fmla="*/ 35187 w 6305585"/>
              <a:gd name="connsiteY1" fmla="*/ 2707 h 514558"/>
              <a:gd name="connsiteX2" fmla="*/ 6233220 w 6305585"/>
              <a:gd name="connsiteY2" fmla="*/ 2707 h 514558"/>
              <a:gd name="connsiteX3" fmla="*/ 6304816 w 6305585"/>
              <a:gd name="connsiteY3" fmla="*/ 65159 h 514558"/>
              <a:gd name="connsiteX4" fmla="*/ 6259096 w 6305585"/>
              <a:gd name="connsiteY4" fmla="*/ 351522 h 514558"/>
              <a:gd name="connsiteX5" fmla="*/ 6178356 w 6305585"/>
              <a:gd name="connsiteY5" fmla="*/ 514558 h 514558"/>
              <a:gd name="connsiteX6" fmla="*/ 181491 w 6305585"/>
              <a:gd name="connsiteY6" fmla="*/ 514558 h 514558"/>
              <a:gd name="connsiteX7" fmla="*/ 100751 w 6305585"/>
              <a:gd name="connsiteY7" fmla="*/ 360666 h 514558"/>
              <a:gd name="connsiteX8" fmla="*/ 45887 w 6305585"/>
              <a:gd name="connsiteY8" fmla="*/ 92591 h 514558"/>
              <a:gd name="connsiteX0" fmla="*/ 45887 w 6305585"/>
              <a:gd name="connsiteY0" fmla="*/ 92591 h 514558"/>
              <a:gd name="connsiteX1" fmla="*/ 35187 w 6305585"/>
              <a:gd name="connsiteY1" fmla="*/ 2707 h 514558"/>
              <a:gd name="connsiteX2" fmla="*/ 6233220 w 6305585"/>
              <a:gd name="connsiteY2" fmla="*/ 2707 h 514558"/>
              <a:gd name="connsiteX3" fmla="*/ 6304816 w 6305585"/>
              <a:gd name="connsiteY3" fmla="*/ 65159 h 514558"/>
              <a:gd name="connsiteX4" fmla="*/ 6259096 w 6305585"/>
              <a:gd name="connsiteY4" fmla="*/ 351522 h 514558"/>
              <a:gd name="connsiteX5" fmla="*/ 6032052 w 6305585"/>
              <a:gd name="connsiteY5" fmla="*/ 487126 h 514558"/>
              <a:gd name="connsiteX6" fmla="*/ 181491 w 6305585"/>
              <a:gd name="connsiteY6" fmla="*/ 514558 h 514558"/>
              <a:gd name="connsiteX7" fmla="*/ 100751 w 6305585"/>
              <a:gd name="connsiteY7" fmla="*/ 360666 h 514558"/>
              <a:gd name="connsiteX8" fmla="*/ 45887 w 6305585"/>
              <a:gd name="connsiteY8" fmla="*/ 92591 h 514558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00751 w 6305585"/>
              <a:gd name="connsiteY7" fmla="*/ 360666 h 487126"/>
              <a:gd name="connsiteX8" fmla="*/ 45887 w 6305585"/>
              <a:gd name="connsiteY8" fmla="*/ 92591 h 487126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73903 w 6305585"/>
              <a:gd name="connsiteY7" fmla="*/ 360666 h 487126"/>
              <a:gd name="connsiteX8" fmla="*/ 45887 w 6305585"/>
              <a:gd name="connsiteY8" fmla="*/ 92591 h 487126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73903 w 6305585"/>
              <a:gd name="connsiteY7" fmla="*/ 360666 h 487126"/>
              <a:gd name="connsiteX8" fmla="*/ 45887 w 6305585"/>
              <a:gd name="connsiteY8" fmla="*/ 92591 h 487126"/>
              <a:gd name="connsiteX0" fmla="*/ 0 w 6259698"/>
              <a:gd name="connsiteY0" fmla="*/ 117316 h 511851"/>
              <a:gd name="connsiteX1" fmla="*/ 99028 w 6259698"/>
              <a:gd name="connsiteY1" fmla="*/ 0 h 511851"/>
              <a:gd name="connsiteX2" fmla="*/ 6187333 w 6259698"/>
              <a:gd name="connsiteY2" fmla="*/ 27432 h 511851"/>
              <a:gd name="connsiteX3" fmla="*/ 6258929 w 6259698"/>
              <a:gd name="connsiteY3" fmla="*/ 89884 h 511851"/>
              <a:gd name="connsiteX4" fmla="*/ 6213209 w 6259698"/>
              <a:gd name="connsiteY4" fmla="*/ 376247 h 511851"/>
              <a:gd name="connsiteX5" fmla="*/ 5986165 w 6259698"/>
              <a:gd name="connsiteY5" fmla="*/ 511851 h 511851"/>
              <a:gd name="connsiteX6" fmla="*/ 309340 w 6259698"/>
              <a:gd name="connsiteY6" fmla="*/ 511851 h 511851"/>
              <a:gd name="connsiteX7" fmla="*/ 128016 w 6259698"/>
              <a:gd name="connsiteY7" fmla="*/ 385391 h 511851"/>
              <a:gd name="connsiteX8" fmla="*/ 0 w 6259698"/>
              <a:gd name="connsiteY8" fmla="*/ 117316 h 511851"/>
              <a:gd name="connsiteX0" fmla="*/ 45887 w 6195857"/>
              <a:gd name="connsiteY0" fmla="*/ 153892 h 511851"/>
              <a:gd name="connsiteX1" fmla="*/ 35187 w 6195857"/>
              <a:gd name="connsiteY1" fmla="*/ 0 h 511851"/>
              <a:gd name="connsiteX2" fmla="*/ 6123492 w 6195857"/>
              <a:gd name="connsiteY2" fmla="*/ 27432 h 511851"/>
              <a:gd name="connsiteX3" fmla="*/ 6195088 w 6195857"/>
              <a:gd name="connsiteY3" fmla="*/ 89884 h 511851"/>
              <a:gd name="connsiteX4" fmla="*/ 6149368 w 6195857"/>
              <a:gd name="connsiteY4" fmla="*/ 376247 h 511851"/>
              <a:gd name="connsiteX5" fmla="*/ 5922324 w 6195857"/>
              <a:gd name="connsiteY5" fmla="*/ 511851 h 511851"/>
              <a:gd name="connsiteX6" fmla="*/ 245499 w 6195857"/>
              <a:gd name="connsiteY6" fmla="*/ 511851 h 511851"/>
              <a:gd name="connsiteX7" fmla="*/ 64175 w 6195857"/>
              <a:gd name="connsiteY7" fmla="*/ 385391 h 511851"/>
              <a:gd name="connsiteX8" fmla="*/ 45887 w 6195857"/>
              <a:gd name="connsiteY8" fmla="*/ 153892 h 511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95857" h="511851">
                <a:moveTo>
                  <a:pt x="45887" y="153892"/>
                </a:moveTo>
                <a:cubicBezTo>
                  <a:pt x="45887" y="68900"/>
                  <a:pt x="-49805" y="0"/>
                  <a:pt x="35187" y="0"/>
                </a:cubicBezTo>
                <a:lnTo>
                  <a:pt x="6123492" y="27432"/>
                </a:lnTo>
                <a:cubicBezTo>
                  <a:pt x="6208484" y="27432"/>
                  <a:pt x="6195088" y="4892"/>
                  <a:pt x="6195088" y="89884"/>
                </a:cubicBezTo>
                <a:lnTo>
                  <a:pt x="6149368" y="376247"/>
                </a:lnTo>
                <a:cubicBezTo>
                  <a:pt x="6149368" y="461239"/>
                  <a:pt x="6007316" y="511851"/>
                  <a:pt x="5922324" y="511851"/>
                </a:cubicBezTo>
                <a:lnTo>
                  <a:pt x="245499" y="511851"/>
                </a:lnTo>
                <a:cubicBezTo>
                  <a:pt x="160507" y="511851"/>
                  <a:pt x="55031" y="442951"/>
                  <a:pt x="64175" y="385391"/>
                </a:cubicBezTo>
                <a:lnTo>
                  <a:pt x="45887" y="153892"/>
                </a:lnTo>
                <a:close/>
              </a:path>
            </a:pathLst>
          </a:cu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kern="0" dirty="0"/>
              <a:t>The power </a:t>
            </a:r>
            <a:r>
              <a:rPr lang="de-DE" b="0" kern="0" dirty="0" err="1"/>
              <a:t>output</a:t>
            </a:r>
            <a:r>
              <a:rPr lang="de-DE" b="0" kern="0" dirty="0"/>
              <a:t> </a:t>
            </a:r>
            <a:r>
              <a:rPr lang="de-DE" b="0" kern="0" dirty="0" err="1"/>
              <a:t>scenarios</a:t>
            </a:r>
            <a:r>
              <a:rPr lang="de-DE" b="0" kern="0" dirty="0"/>
              <a:t> </a:t>
            </a:r>
            <a:r>
              <a:rPr lang="de-DE" b="0" kern="0" dirty="0" err="1"/>
              <a:t>is</a:t>
            </a:r>
            <a:r>
              <a:rPr lang="de-DE" b="0" kern="0" dirty="0"/>
              <a:t> </a:t>
            </a:r>
            <a:r>
              <a:rPr lang="de-DE" b="0" kern="0" dirty="0" err="1"/>
              <a:t>the</a:t>
            </a:r>
            <a:r>
              <a:rPr lang="de-DE" b="0" kern="0" dirty="0"/>
              <a:t> </a:t>
            </a:r>
            <a:r>
              <a:rPr lang="de-DE" b="0" kern="0" dirty="0" err="1"/>
              <a:t>cartesian</a:t>
            </a:r>
            <a:r>
              <a:rPr lang="de-DE" b="0" kern="0" dirty="0"/>
              <a:t> </a:t>
            </a:r>
            <a:r>
              <a:rPr lang="de-DE" b="0" kern="0" dirty="0" err="1"/>
              <a:t>product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</a:t>
            </a:r>
            <a:r>
              <a:rPr lang="de-DE" b="0" kern="0" dirty="0" err="1"/>
              <a:t>the</a:t>
            </a:r>
            <a:r>
              <a:rPr lang="de-DE" b="0" kern="0" dirty="0"/>
              <a:t> </a:t>
            </a:r>
            <a:r>
              <a:rPr lang="de-DE" b="0" kern="0" dirty="0" err="1"/>
              <a:t>output</a:t>
            </a:r>
            <a:r>
              <a:rPr lang="de-DE" b="0" kern="0" dirty="0"/>
              <a:t> </a:t>
            </a:r>
            <a:r>
              <a:rPr lang="de-DE" b="0" kern="0" dirty="0" err="1"/>
              <a:t>levels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all individual DERs</a:t>
            </a:r>
          </a:p>
          <a:p>
            <a:endParaRPr lang="de-DE" kern="0" dirty="0"/>
          </a:p>
        </p:txBody>
      </p:sp>
      <p:sp>
        <p:nvSpPr>
          <p:cNvPr id="24" name="Flussdiagramm: Verbinder 23">
            <a:extLst>
              <a:ext uri="{FF2B5EF4-FFF2-40B4-BE49-F238E27FC236}">
                <a16:creationId xmlns:a16="http://schemas.microsoft.com/office/drawing/2014/main" id="{41CB53C6-223F-473E-B3E4-BB96CF0CF4F9}"/>
              </a:ext>
            </a:extLst>
          </p:cNvPr>
          <p:cNvSpPr/>
          <p:nvPr/>
        </p:nvSpPr>
        <p:spPr>
          <a:xfrm>
            <a:off x="8544272" y="3175259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5" name="Flussdiagramm: Verbinder 24">
            <a:extLst>
              <a:ext uri="{FF2B5EF4-FFF2-40B4-BE49-F238E27FC236}">
                <a16:creationId xmlns:a16="http://schemas.microsoft.com/office/drawing/2014/main" id="{C3796F0B-5C9D-4B56-B71D-5533CF3C6B67}"/>
              </a:ext>
            </a:extLst>
          </p:cNvPr>
          <p:cNvSpPr/>
          <p:nvPr/>
        </p:nvSpPr>
        <p:spPr>
          <a:xfrm>
            <a:off x="8832304" y="2659771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6" name="Flussdiagramm: Verbinder 25">
            <a:extLst>
              <a:ext uri="{FF2B5EF4-FFF2-40B4-BE49-F238E27FC236}">
                <a16:creationId xmlns:a16="http://schemas.microsoft.com/office/drawing/2014/main" id="{1862D37D-1414-48E7-814E-4D042159420F}"/>
              </a:ext>
            </a:extLst>
          </p:cNvPr>
          <p:cNvSpPr/>
          <p:nvPr/>
        </p:nvSpPr>
        <p:spPr>
          <a:xfrm>
            <a:off x="9145152" y="3175259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E839B544-2F62-4A4B-B215-9A66621387AF}"/>
                  </a:ext>
                </a:extLst>
              </p:cNvPr>
              <p:cNvSpPr txBox="1"/>
              <p:nvPr/>
            </p:nvSpPr>
            <p:spPr>
              <a:xfrm>
                <a:off x="7441739" y="3075007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45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4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E839B544-2F62-4A4B-B215-9A6662138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1739" y="3075007"/>
                <a:ext cx="1117749" cy="24622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1807A66D-76DE-4223-B163-2553EAA3BB76}"/>
                  </a:ext>
                </a:extLst>
              </p:cNvPr>
              <p:cNvSpPr txBox="1"/>
              <p:nvPr/>
            </p:nvSpPr>
            <p:spPr>
              <a:xfrm>
                <a:off x="7714555" y="2585209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50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5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1807A66D-76DE-4223-B163-2553EAA3BB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14555" y="2585209"/>
                <a:ext cx="1117749" cy="24622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7EB756EF-5A0F-4463-B66F-1EFD39FDD9A3}"/>
                  </a:ext>
                </a:extLst>
              </p:cNvPr>
              <p:cNvSpPr txBox="1"/>
              <p:nvPr/>
            </p:nvSpPr>
            <p:spPr>
              <a:xfrm>
                <a:off x="9172095" y="3075007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55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6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7EB756EF-5A0F-4463-B66F-1EFD39FDD9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72095" y="3075007"/>
                <a:ext cx="1117749" cy="24622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4067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  <p:bldP spid="23" grpId="0" animBg="1"/>
      <p:bldP spid="24" grpId="0" animBg="1"/>
      <p:bldP spid="25" grpId="0" animBg="1"/>
      <p:bldP spid="26" grpId="0" animBg="1"/>
      <p:bldP spid="37" grpId="0"/>
      <p:bldP spid="3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B2962E-C2DE-4F5A-B7A5-45EDD0DE9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calculation</a:t>
            </a:r>
            <a:r>
              <a:rPr lang="de-DE" dirty="0"/>
              <a:t> </a:t>
            </a:r>
            <a:r>
              <a:rPr lang="de-DE" dirty="0" err="1"/>
              <a:t>constraints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ERs and </a:t>
            </a:r>
            <a:r>
              <a:rPr lang="de-DE" dirty="0" err="1"/>
              <a:t>the</a:t>
            </a:r>
            <a:r>
              <a:rPr lang="de-DE" dirty="0"/>
              <a:t> link </a:t>
            </a:r>
            <a:r>
              <a:rPr lang="de-DE" dirty="0" err="1"/>
              <a:t>reliability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F888787-EABE-4B7D-B252-9455730EBD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719" y="1598420"/>
            <a:ext cx="3204216" cy="5029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power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scenario</a:t>
            </a:r>
            <a:r>
              <a:rPr lang="de-DE" sz="1800" dirty="0"/>
              <a:t>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1600" dirty="0"/>
          </a:p>
          <a:p>
            <a:endParaRPr lang="de-DE" sz="16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9238A7A2-F961-4DE7-81FE-C66F4B6836E5}"/>
                  </a:ext>
                </a:extLst>
              </p:cNvPr>
              <p:cNvSpPr txBox="1"/>
              <p:nvPr/>
            </p:nvSpPr>
            <p:spPr>
              <a:xfrm>
                <a:off x="201921" y="4819955"/>
                <a:ext cx="202057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&lt;10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9238A7A2-F961-4DE7-81FE-C66F4B6836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921" y="4819955"/>
                <a:ext cx="2020570" cy="36933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3990E17-AB45-44A4-9E44-89D56C39D934}"/>
                  </a:ext>
                </a:extLst>
              </p:cNvPr>
              <p:cNvSpPr txBox="1"/>
              <p:nvPr/>
            </p:nvSpPr>
            <p:spPr>
              <a:xfrm>
                <a:off x="1616030" y="5775595"/>
                <a:ext cx="189890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&lt;60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0.</m:t>
                    </m:r>
                  </m:oMath>
                </a14:m>
                <a:r>
                  <a:rPr lang="de-DE" dirty="0"/>
                  <a:t>8</a:t>
                </a:r>
              </a:p>
            </p:txBody>
          </p:sp>
        </mc:Choice>
        <mc:Fallback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3990E17-AB45-44A4-9E44-89D56C39D9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6030" y="5775595"/>
                <a:ext cx="1898905" cy="369332"/>
              </a:xfrm>
              <a:prstGeom prst="rect">
                <a:avLst/>
              </a:prstGeom>
              <a:blipFill>
                <a:blip r:embed="rId3"/>
                <a:stretch>
                  <a:fillRect t="-8197" b="-24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0BF4A46-0E5C-41C6-94C9-9A0DCEACF630}"/>
                  </a:ext>
                </a:extLst>
              </p:cNvPr>
              <p:cNvSpPr txBox="1"/>
              <p:nvPr/>
            </p:nvSpPr>
            <p:spPr>
              <a:xfrm>
                <a:off x="1559496" y="2246652"/>
                <a:ext cx="189890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&lt;30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0BF4A46-0E5C-41C6-94C9-9A0DCEACF6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9496" y="2246652"/>
                <a:ext cx="1898905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Grafik 14">
            <a:extLst>
              <a:ext uri="{FF2B5EF4-FFF2-40B4-BE49-F238E27FC236}">
                <a16:creationId xmlns:a16="http://schemas.microsoft.com/office/drawing/2014/main" id="{D988A0E3-95BC-4F01-8DCD-736E4555FBF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4" t="5519" r="73523" b="8234"/>
          <a:stretch/>
        </p:blipFill>
        <p:spPr>
          <a:xfrm>
            <a:off x="669974" y="2501020"/>
            <a:ext cx="2214368" cy="327457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9A1DAC8E-C5B6-4098-B12F-8C485C003180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785616" y="1566160"/>
                <a:ext cx="7999016" cy="5029268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/>
                  <a:t>Power </a:t>
                </a:r>
                <a:r>
                  <a:rPr lang="de-DE" sz="1800" kern="0" dirty="0" err="1"/>
                  <a:t>output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scenario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probability</a:t>
                </a:r>
                <a:r>
                  <a:rPr lang="de-DE" sz="1800" kern="0" dirty="0"/>
                  <a:t>:</a:t>
                </a: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sub>
                      </m:sSub>
                      <m:r>
                        <a:rPr lang="de-DE" sz="1800" b="0" i="1" kern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∏"/>
                          <m:supHide m:val="on"/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 ∈</m:t>
                          </m:r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sz="1800" b="0" kern="0" dirty="0"/>
              </a:p>
              <a:p>
                <a:r>
                  <a:rPr lang="de-DE" sz="1600" b="0" kern="0" dirty="0" err="1"/>
                  <a:t>For</a:t>
                </a:r>
                <a:r>
                  <a:rPr lang="de-DE" sz="1600" b="0" kern="0" dirty="0"/>
                  <a:t> all </a:t>
                </a:r>
                <a:r>
                  <a:rPr lang="de-DE" sz="1600" b="0" kern="0" dirty="0" err="1"/>
                  <a:t>nodes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n</a:t>
                </a:r>
                <a:r>
                  <a:rPr lang="de-DE" sz="1600" b="0" kern="0" dirty="0"/>
                  <a:t> in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set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N</a:t>
                </a:r>
                <a:r>
                  <a:rPr lang="de-DE" sz="1600" b="0" kern="0" dirty="0"/>
                  <a:t> and </a:t>
                </a:r>
                <a:r>
                  <a:rPr lang="de-DE" sz="1600" b="0" kern="0" dirty="0" err="1"/>
                  <a:t>their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reliabil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level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r</a:t>
                </a:r>
              </a:p>
              <a:p>
                <a:r>
                  <a:rPr lang="de-DE" sz="1800" kern="0" dirty="0" err="1"/>
                  <a:t>For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the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reliability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calculation</a:t>
                </a:r>
                <a:r>
                  <a:rPr lang="de-DE" sz="1800" kern="0" dirty="0"/>
                  <a:t>:</a:t>
                </a:r>
              </a:p>
              <a:p>
                <a:r>
                  <a:rPr lang="de-DE" sz="1600" b="0" kern="0" dirty="0"/>
                  <a:t>1. </a:t>
                </a:r>
                <a:r>
                  <a:rPr lang="de-DE" sz="1600" b="0" kern="0" dirty="0" err="1"/>
                  <a:t>Calculate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  <m:r>
                          <a:rPr lang="de-DE" sz="16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16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when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6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6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  <m:sSub>
                          <m:sSubPr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b>
                        </m:s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sSubSup>
                      <m:sSubSup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pPr marL="314062" lvl="2" indent="0">
                  <a:buNone/>
                </a:pPr>
                <a:r>
                  <a:rPr lang="de-DE" sz="1400" kern="0" dirty="0" err="1"/>
                  <a:t>w</a:t>
                </a:r>
                <a:r>
                  <a:rPr lang="de-DE" sz="1400" b="0" kern="0" dirty="0" err="1"/>
                  <a:t>here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is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power </a:t>
                </a:r>
                <a:r>
                  <a:rPr lang="de-DE" sz="1400" b="0" kern="0" dirty="0" err="1"/>
                  <a:t>output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of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node</a:t>
                </a:r>
                <a:r>
                  <a:rPr lang="de-DE" sz="1400" b="0" kern="0" dirty="0"/>
                  <a:t> </a:t>
                </a:r>
                <a:r>
                  <a:rPr lang="de-DE" sz="1400" b="0" i="1" kern="0" dirty="0"/>
                  <a:t>n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given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reliability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level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</m:oMath>
                </a14:m>
                <a:r>
                  <a:rPr lang="de-DE" sz="1400" b="0" kern="0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r>
                          <a:rPr lang="de-DE" sz="1400" b="0" i="1" ker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d>
                      <m:dPr>
                        <m:ctrlPr>
                          <a:rPr lang="de-DE" sz="1400" b="0" i="1" ker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400" b="0" i="1" ker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d>
                    <m:r>
                      <a:rPr lang="de-DE" sz="1400" b="0" i="0" kern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when</a:t>
                </a:r>
                <a:r>
                  <a:rPr lang="de-DE" sz="1400" b="0" kern="0" dirty="0"/>
                  <a:t> </a:t>
                </a:r>
                <a:r>
                  <a:rPr lang="de-DE" sz="1400" i="1" kern="0" dirty="0"/>
                  <a:t>n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cannot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be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connected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when</a:t>
                </a:r>
                <a:r>
                  <a:rPr lang="de-DE" sz="1400" b="0" kern="0" dirty="0"/>
                  <a:t> link </a:t>
                </a:r>
                <a:r>
                  <a:rPr lang="de-DE" sz="1400" i="1" kern="0" dirty="0"/>
                  <a:t>l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fails</a:t>
                </a:r>
                <a:r>
                  <a:rPr lang="de-DE" sz="1400" b="0" kern="0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d>
                          <m:dPr>
                            <m:begChr m:val="|"/>
                            <m:endChr m:val="|"/>
                            <m:ctrlP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</m:d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de-DE" sz="1400" b="0" kern="0" dirty="0"/>
                  <a:t> belongs </a:t>
                </a:r>
                <a:r>
                  <a:rPr lang="de-DE" sz="1400" b="0" kern="0" dirty="0" err="1"/>
                  <a:t>to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„</a:t>
                </a:r>
                <a:r>
                  <a:rPr lang="de-DE" sz="1400" b="0" kern="0" dirty="0" err="1"/>
                  <a:t>no</a:t>
                </a:r>
                <a:r>
                  <a:rPr lang="de-DE" sz="1400" b="0" kern="0" dirty="0"/>
                  <a:t>-link-</a:t>
                </a:r>
                <a:r>
                  <a:rPr lang="de-DE" sz="1400" b="0" kern="0" dirty="0" err="1"/>
                  <a:t>failure</a:t>
                </a:r>
                <a:r>
                  <a:rPr lang="de-DE" sz="1400" b="0" kern="0" dirty="0"/>
                  <a:t>“ </a:t>
                </a:r>
                <a:r>
                  <a:rPr lang="de-DE" sz="1400" b="0" kern="0" dirty="0" err="1"/>
                  <a:t>scenario</a:t>
                </a:r>
                <a:endParaRPr lang="de-DE" sz="1400" b="0" kern="0" dirty="0"/>
              </a:p>
              <a:p>
                <a:r>
                  <a:rPr lang="de-DE" sz="1600" b="0" kern="0" dirty="0"/>
                  <a:t>2. </a:t>
                </a:r>
                <a:r>
                  <a:rPr lang="de-DE" sz="1600" b="0" kern="0" dirty="0" err="1"/>
                  <a:t>Calculat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reliabil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</a:t>
                </a: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b="0" i="1" kern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kern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supHide m:val="on"/>
                              <m:ctrlPr>
                                <a:rPr lang="de-DE" sz="16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9"/>
                                </m:rP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𝛺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sSub>
                                    <m:sSubPr>
                                      <m:ctrlP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</a:rPr>
                                        <m:t>𝑙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7"/>
                                    </m:rP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𝛺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𝜔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nary>
                        </m:den>
                      </m:f>
                      <m:d>
                        <m:dPr>
                          <m:ctrlPr>
                            <a:rPr lang="de-DE" sz="1600" b="0" i="1" kern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de-DE" sz="16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𝛺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𝜁</m:t>
                                  </m:r>
                                </m:e>
                                <m:sub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sSub>
                                    <m:sSubPr>
                                      <m:ctrlP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</a:rPr>
                                        <m:t>𝑙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  <m:r>
                            <a:rPr lang="de-DE" sz="1600" b="0" i="1" kern="0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de-DE" sz="16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de-DE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sty m:val="p"/>
                                </m:rPr>
                                <a:rPr lang="el-GR" sz="16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Ω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𝜁</m:t>
                                  </m:r>
                                </m:e>
                                <m:sub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d>
                                    <m:dPr>
                                      <m:begChr m:val="|"/>
                                      <m:endChr m:val="|"/>
                                      <m:ctrlP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16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𝐿</m:t>
                                      </m:r>
                                    </m:e>
                                  </m:d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sz="16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6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sub>
                              </m:sSub>
                            </m:e>
                          </m:nary>
                        </m:e>
                      </m:d>
                      <m:r>
                        <a:rPr lang="de-DE" sz="1600" b="0" i="1" kern="0" smtClean="0">
                          <a:latin typeface="Cambria Math" panose="02040503050406030204" pitchFamily="18" charset="0"/>
                        </a:rPr>
                        <m:t>≤1−</m:t>
                      </m:r>
                      <m:sSub>
                        <m:sSubPr>
                          <m:ctrlPr>
                            <a:rPr lang="de-DE" sz="1600" b="0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kern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de-DE" sz="1600" b="0" i="1" kern="0" smtClean="0">
                              <a:latin typeface="Cambria Math" panose="02040503050406030204" pitchFamily="18" charset="0"/>
                            </a:rPr>
                            <m:t>𝑉𝑃𝑃</m:t>
                          </m:r>
                        </m:sub>
                      </m:sSub>
                    </m:oMath>
                  </m:oMathPara>
                </a14:m>
                <a:endParaRPr lang="de-DE" sz="1600" b="0" kern="0" dirty="0"/>
              </a:p>
            </p:txBody>
          </p:sp>
        </mc:Choice>
        <mc:Fallback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9A1DAC8E-C5B6-4098-B12F-8C485C0031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785616" y="1566160"/>
                <a:ext cx="7999016" cy="5029268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1910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1AB336-59F8-491C-BF46-F04576E37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LP </a:t>
            </a:r>
            <a:r>
              <a:rPr lang="de-DE" dirty="0" err="1"/>
              <a:t>optimiz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ctivation</a:t>
            </a:r>
            <a:r>
              <a:rPr lang="de-DE" dirty="0"/>
              <a:t> variables </a:t>
            </a:r>
            <a:r>
              <a:rPr lang="de-DE" i="1" dirty="0"/>
              <a:t>x</a:t>
            </a:r>
            <a:r>
              <a:rPr lang="de-DE" dirty="0"/>
              <a:t> and </a:t>
            </a:r>
            <a:r>
              <a:rPr lang="de-DE" i="1" dirty="0"/>
              <a:t>y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bjective</a:t>
            </a:r>
            <a:r>
              <a:rPr lang="de-DE" dirty="0"/>
              <a:t> </a:t>
            </a:r>
            <a:r>
              <a:rPr lang="de-DE" dirty="0" err="1"/>
              <a:t>function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C402AE39-3905-47A6-A149-ED7548D4432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Objective </a:t>
                </a:r>
                <a:r>
                  <a:rPr lang="de-DE" dirty="0" err="1"/>
                  <a:t>function</a:t>
                </a:r>
                <a:r>
                  <a:rPr lang="de-DE" dirty="0"/>
                  <a:t>:</a:t>
                </a:r>
              </a:p>
              <a:p>
                <a:pPr marL="522900" indent="-342900">
                  <a:buFont typeface="Wingdings" panose="05000000000000000000" pitchFamily="2" charset="2"/>
                  <a:buChar char="è"/>
                </a:pPr>
                <a:r>
                  <a:rPr lang="de-DE" sz="1800" b="0" dirty="0" err="1">
                    <a:sym typeface="Wingdings" panose="05000000000000000000" pitchFamily="2" charset="2"/>
                  </a:rPr>
                  <a:t>Minimization</a:t>
                </a:r>
                <a:r>
                  <a:rPr lang="de-DE" sz="1800" b="0" dirty="0">
                    <a:sym typeface="Wingdings" panose="05000000000000000000" pitchFamily="2" charset="2"/>
                  </a:rPr>
                  <a:t>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of</a:t>
                </a:r>
                <a:r>
                  <a:rPr lang="de-DE" sz="1800" b="0" dirty="0">
                    <a:sym typeface="Wingdings" panose="05000000000000000000" pitchFamily="2" charset="2"/>
                  </a:rPr>
                  <a:t>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the</a:t>
                </a:r>
                <a:r>
                  <a:rPr lang="de-DE" sz="1800" b="0" dirty="0">
                    <a:sym typeface="Wingdings" panose="05000000000000000000" pitchFamily="2" charset="2"/>
                  </a:rPr>
                  <a:t>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costs</a:t>
                </a:r>
                <a:r>
                  <a:rPr lang="de-DE" sz="1800" b="0" dirty="0">
                    <a:sym typeface="Wingdings" panose="05000000000000000000" pitchFamily="2" charset="2"/>
                  </a:rPr>
                  <a:t> in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dependency</a:t>
                </a:r>
                <a:r>
                  <a:rPr lang="de-DE" sz="1800" b="0" dirty="0">
                    <a:sym typeface="Wingdings" panose="05000000000000000000" pitchFamily="2" charset="2"/>
                  </a:rPr>
                  <a:t>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of</a:t>
                </a:r>
                <a:r>
                  <a:rPr lang="de-DE" sz="1800" b="0" dirty="0">
                    <a:sym typeface="Wingdings" panose="05000000000000000000" pitchFamily="2" charset="2"/>
                  </a:rPr>
                  <a:t>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the</a:t>
                </a:r>
                <a:r>
                  <a:rPr lang="de-DE" sz="1800" b="0" dirty="0">
                    <a:sym typeface="Wingdings" panose="05000000000000000000" pitchFamily="2" charset="2"/>
                  </a:rPr>
                  <a:t>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reliability</a:t>
                </a:r>
                <a:r>
                  <a:rPr lang="de-DE" sz="1800" b="0" dirty="0">
                    <a:sym typeface="Wingdings" panose="05000000000000000000" pitchFamily="2" charset="2"/>
                  </a:rPr>
                  <a:t> </a:t>
                </a:r>
                <a:r>
                  <a:rPr lang="de-DE" sz="1800" b="0" dirty="0" err="1">
                    <a:sym typeface="Wingdings" panose="05000000000000000000" pitchFamily="2" charset="2"/>
                  </a:rPr>
                  <a:t>constraints</a:t>
                </a:r>
                <a:endParaRPr lang="de-DE" sz="1800" b="0" dirty="0">
                  <a:sym typeface="Wingdings" panose="05000000000000000000" pitchFamily="2" charset="2"/>
                </a:endParaRPr>
              </a:p>
              <a:p>
                <a:r>
                  <a:rPr lang="de-DE" dirty="0"/>
                  <a:t>	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800" b="0" i="0" smtClean="0">
                        <a:latin typeface="Cambria Math" panose="02040503050406030204" pitchFamily="18" charset="0"/>
                      </a:rPr>
                      <m:t>min</m:t>
                    </m:r>
                    <m:nary>
                      <m:naryPr>
                        <m:chr m:val="∑"/>
                        <m:supHide m:val="on"/>
                        <m:ctrlPr>
                          <a:rPr lang="de-DE" sz="2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28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  <m:sSub>
                          <m:sSubPr>
                            <m:ctrlP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sSubSup>
                          <m:sSubSupPr>
                            <m:ctrlP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𝑛</m:t>
                            </m:r>
                          </m:sub>
                          <m:sup>
                            <m: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𝐸𝑅</m:t>
                            </m:r>
                          </m:sup>
                        </m:sSubSup>
                      </m:e>
                    </m:nary>
                    <m:r>
                      <a:rPr lang="de-DE" sz="2800" b="0" i="1" smtClean="0">
                        <a:latin typeface="Cambria Math" panose="02040503050406030204" pitchFamily="18" charset="0"/>
                      </a:rPr>
                      <m:t>+</m:t>
                    </m:r>
                    <m:nary>
                      <m:naryPr>
                        <m:chr m:val="∑"/>
                        <m:supHide m:val="on"/>
                        <m:ctrlPr>
                          <a:rPr lang="de-DE" sz="28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2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8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de-DE" sz="2800" b="0" i="1" smtClean="0">
                                <a:latin typeface="Cambria Math" panose="02040503050406030204" pitchFamily="18" charset="0"/>
                              </a:rPr>
                              <m:t>𝑙𝑖𝑛𝑘</m:t>
                            </m:r>
                          </m:sub>
                        </m:sSub>
                        <m:sSub>
                          <m:sSubPr>
                            <m:ctrlPr>
                              <a:rPr lang="de-DE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8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2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2800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2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</m:oMath>
                </a14:m>
                <a:endParaRPr lang="de-DE" sz="2800" b="0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C402AE39-3905-47A6-A149-ED7548D4432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58812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4</Words>
  <Application>Microsoft Office PowerPoint</Application>
  <PresentationFormat>Breitbild</PresentationFormat>
  <Paragraphs>96</Paragraphs>
  <Slides>10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Bitstream Charter</vt:lpstr>
      <vt:lpstr>Charter</vt:lpstr>
      <vt:lpstr>Stafford</vt:lpstr>
      <vt:lpstr>Arial</vt:lpstr>
      <vt:lpstr>Cambria Math</vt:lpstr>
      <vt:lpstr>Symbol</vt:lpstr>
      <vt:lpstr>Tahoma</vt:lpstr>
      <vt:lpstr>Wingdings</vt:lpstr>
      <vt:lpstr>Präsentationsvorlage_BWL9</vt:lpstr>
      <vt:lpstr>Extension of the Virtual Network Embedding formulation for Virtual Power Plants</vt:lpstr>
      <vt:lpstr>A Virtual Power Plant (VPP) is a distributed power plant </vt:lpstr>
      <vt:lpstr>Generating a stable power output is a problem for renewable energy resources</vt:lpstr>
      <vt:lpstr>Idea: assign DERs to a VPP by virtual network embedding (VNE)</vt:lpstr>
      <vt:lpstr>Mixed Integer Linear Programming (MILP) is used as basis for the VNE algorithm</vt:lpstr>
      <vt:lpstr>VPP virtual network model is mapped onto the physical network</vt:lpstr>
      <vt:lpstr>The VPP‘s reliability depends on two factors</vt:lpstr>
      <vt:lpstr>The reliability calculation constraints combine the power output of the DERs and the link reliability</vt:lpstr>
      <vt:lpstr>MILP optimizes the activation variables x and y based on the objective function</vt:lpstr>
      <vt:lpstr>Number of scenario constraints can be reduced by ignoring irrelevant power output scenario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750</cp:revision>
  <cp:lastPrinted>2015-03-31T13:31:38Z</cp:lastPrinted>
  <dcterms:created xsi:type="dcterms:W3CDTF">2009-12-23T09:42:49Z</dcterms:created>
  <dcterms:modified xsi:type="dcterms:W3CDTF">2021-08-29T12:11:01Z</dcterms:modified>
</cp:coreProperties>
</file>